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8.xml" ContentType="application/vnd.openxmlformats-officedocument.presentationml.tags+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9.xml" ContentType="application/vnd.openxmlformats-officedocument.presentationml.tags+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74" r:id="rId3"/>
    <p:sldMasterId id="2147484970" r:id="rId4"/>
  </p:sldMasterIdLst>
  <p:notesMasterIdLst>
    <p:notesMasterId r:id="rId29"/>
  </p:notesMasterIdLst>
  <p:sldIdLst>
    <p:sldId id="2103813174" r:id="rId5"/>
    <p:sldId id="2103813334" r:id="rId6"/>
    <p:sldId id="2103813201" r:id="rId7"/>
    <p:sldId id="1330" r:id="rId8"/>
    <p:sldId id="2103813331" r:id="rId9"/>
    <p:sldId id="1336" r:id="rId10"/>
    <p:sldId id="1356" r:id="rId11"/>
    <p:sldId id="324" r:id="rId12"/>
    <p:sldId id="425" r:id="rId13"/>
    <p:sldId id="2103813336" r:id="rId14"/>
    <p:sldId id="332" r:id="rId15"/>
    <p:sldId id="1369" r:id="rId16"/>
    <p:sldId id="1357" r:id="rId17"/>
    <p:sldId id="347" r:id="rId18"/>
    <p:sldId id="1374" r:id="rId19"/>
    <p:sldId id="1370" r:id="rId20"/>
    <p:sldId id="1371" r:id="rId21"/>
    <p:sldId id="1373" r:id="rId22"/>
    <p:sldId id="428" r:id="rId23"/>
    <p:sldId id="434" r:id="rId24"/>
    <p:sldId id="1368" r:id="rId25"/>
    <p:sldId id="1338" r:id="rId26"/>
    <p:sldId id="1343" r:id="rId27"/>
    <p:sldId id="274"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03813334"/>
          </p14:sldIdLst>
        </p14:section>
        <p14:section name="Module 1: Always Encrypted" id="{D2BC3036-AFF2-4A70-B633-C33CF965DF72}">
          <p14:sldIdLst>
            <p14:sldId id="2103813201"/>
            <p14:sldId id="1330"/>
            <p14:sldId id="2103813331"/>
            <p14:sldId id="1336"/>
            <p14:sldId id="1356"/>
            <p14:sldId id="324"/>
            <p14:sldId id="425"/>
            <p14:sldId id="2103813336"/>
            <p14:sldId id="332"/>
            <p14:sldId id="1369"/>
            <p14:sldId id="1357"/>
            <p14:sldId id="347"/>
            <p14:sldId id="1374"/>
            <p14:sldId id="1370"/>
            <p14:sldId id="1371"/>
            <p14:sldId id="1373"/>
            <p14:sldId id="428"/>
            <p14:sldId id="434"/>
            <p14:sldId id="1368"/>
            <p14:sldId id="1338"/>
            <p14:sldId id="1343"/>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5C3EA"/>
    <a:srgbClr val="569AD2"/>
    <a:srgbClr val="FFFF99"/>
    <a:srgbClr val="0000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683" autoAdjust="0"/>
    <p:restoredTop sz="92136" autoAdjust="0"/>
  </p:normalViewPr>
  <p:slideViewPr>
    <p:cSldViewPr snapToGrid="0">
      <p:cViewPr varScale="1">
        <p:scale>
          <a:sx n="40" d="100"/>
          <a:sy n="40" d="100"/>
        </p:scale>
        <p:origin x="24" y="413"/>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1.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diagrams/_rels/data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ata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4" Type="http://schemas.openxmlformats.org/officeDocument/2006/relationships/image" Target="../media/image43.svg"/></Relationships>
</file>

<file path=ppt/diagrams/_rels/data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ata3.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18.png"/><Relationship Id="rId7" Type="http://schemas.openxmlformats.org/officeDocument/2006/relationships/image" Target="../media/image34.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19.svg"/></Relationships>
</file>

<file path=ppt/diagrams/_rels/data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svg"/><Relationship Id="rId1" Type="http://schemas.openxmlformats.org/officeDocument/2006/relationships/image" Target="../media/image18.png"/><Relationship Id="rId4" Type="http://schemas.openxmlformats.org/officeDocument/2006/relationships/image" Target="../media/image39.svg"/></Relationships>
</file>

<file path=ppt/diagrams/_rels/drawing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rawing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4" Type="http://schemas.openxmlformats.org/officeDocument/2006/relationships/image" Target="../media/image43.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rawing3.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18.png"/><Relationship Id="rId7" Type="http://schemas.openxmlformats.org/officeDocument/2006/relationships/image" Target="../media/image34.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19.svg"/></Relationships>
</file>

<file path=ppt/diagrams/_rels/drawing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svg"/><Relationship Id="rId1" Type="http://schemas.openxmlformats.org/officeDocument/2006/relationships/image" Target="../media/image18.png"/><Relationship Id="rId4" Type="http://schemas.openxmlformats.org/officeDocument/2006/relationships/image" Target="../media/image39.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B9921D-D998-460F-928C-C9C46A2A1E85}"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292DF78C-C173-4952-B18F-6ADC91DBBB6E}">
      <dgm:prSet/>
      <dgm:spPr/>
      <dgm:t>
        <a:bodyPr/>
        <a:lstStyle/>
        <a:p>
          <a:pPr>
            <a:lnSpc>
              <a:spcPct val="100000"/>
            </a:lnSpc>
          </a:pPr>
          <a:r>
            <a:rPr lang="en-US"/>
            <a:t>Reversible obfuscation of data</a:t>
          </a:r>
        </a:p>
      </dgm:t>
    </dgm:pt>
    <dgm:pt modelId="{3477E4FD-CAF8-45CC-9D23-098FC5D560F0}" type="parTrans" cxnId="{A0251212-7FE3-4759-AF9A-7C31B56DBBFD}">
      <dgm:prSet/>
      <dgm:spPr/>
      <dgm:t>
        <a:bodyPr/>
        <a:lstStyle/>
        <a:p>
          <a:endParaRPr lang="en-US"/>
        </a:p>
      </dgm:t>
    </dgm:pt>
    <dgm:pt modelId="{48F55978-725B-4979-9421-9C9C6696BAB5}" type="sibTrans" cxnId="{A0251212-7FE3-4759-AF9A-7C31B56DBBFD}">
      <dgm:prSet/>
      <dgm:spPr/>
      <dgm:t>
        <a:bodyPr/>
        <a:lstStyle/>
        <a:p>
          <a:pPr>
            <a:lnSpc>
              <a:spcPct val="100000"/>
            </a:lnSpc>
          </a:pPr>
          <a:endParaRPr lang="en-US"/>
        </a:p>
      </dgm:t>
    </dgm:pt>
    <dgm:pt modelId="{122A5FC1-A2B7-4E41-870A-56C98B0212F4}">
      <dgm:prSet/>
      <dgm:spPr/>
      <dgm:t>
        <a:bodyPr/>
        <a:lstStyle/>
        <a:p>
          <a:pPr>
            <a:lnSpc>
              <a:spcPct val="100000"/>
            </a:lnSpc>
          </a:pPr>
          <a:r>
            <a:rPr lang="en-US"/>
            <a:t>Reversal depends on a key</a:t>
          </a:r>
        </a:p>
      </dgm:t>
    </dgm:pt>
    <dgm:pt modelId="{50055460-8448-4384-850C-D6DF03D01B2F}" type="parTrans" cxnId="{533F26DC-CFE1-4BBC-A615-885195200235}">
      <dgm:prSet/>
      <dgm:spPr/>
      <dgm:t>
        <a:bodyPr/>
        <a:lstStyle/>
        <a:p>
          <a:endParaRPr lang="en-US"/>
        </a:p>
      </dgm:t>
    </dgm:pt>
    <dgm:pt modelId="{E5266A20-5CCF-492D-93E2-FDFC1182BC3A}" type="sibTrans" cxnId="{533F26DC-CFE1-4BBC-A615-885195200235}">
      <dgm:prSet/>
      <dgm:spPr/>
      <dgm:t>
        <a:bodyPr/>
        <a:lstStyle/>
        <a:p>
          <a:pPr>
            <a:lnSpc>
              <a:spcPct val="100000"/>
            </a:lnSpc>
          </a:pPr>
          <a:endParaRPr lang="en-US"/>
        </a:p>
      </dgm:t>
    </dgm:pt>
    <dgm:pt modelId="{741377E0-1FD3-4983-BFE0-B83DDE2A5C10}">
      <dgm:prSet/>
      <dgm:spPr/>
      <dgm:t>
        <a:bodyPr/>
        <a:lstStyle/>
        <a:p>
          <a:pPr>
            <a:lnSpc>
              <a:spcPct val="100000"/>
            </a:lnSpc>
          </a:pPr>
          <a:r>
            <a:rPr lang="en-US"/>
            <a:t>Plaintext is encrypted using an encryption algorithm to generate ciphertext</a:t>
          </a:r>
        </a:p>
      </dgm:t>
    </dgm:pt>
    <dgm:pt modelId="{B292E930-7BB6-4611-8CCC-2B4EB728751F}" type="parTrans" cxnId="{14BEC989-A7AF-48B5-9658-B85540286048}">
      <dgm:prSet/>
      <dgm:spPr/>
      <dgm:t>
        <a:bodyPr/>
        <a:lstStyle/>
        <a:p>
          <a:endParaRPr lang="en-US"/>
        </a:p>
      </dgm:t>
    </dgm:pt>
    <dgm:pt modelId="{0B88B264-A3E4-433F-9573-804E8E672434}" type="sibTrans" cxnId="{14BEC989-A7AF-48B5-9658-B85540286048}">
      <dgm:prSet/>
      <dgm:spPr/>
      <dgm:t>
        <a:bodyPr/>
        <a:lstStyle/>
        <a:p>
          <a:pPr>
            <a:lnSpc>
              <a:spcPct val="100000"/>
            </a:lnSpc>
          </a:pPr>
          <a:endParaRPr lang="en-US"/>
        </a:p>
      </dgm:t>
    </dgm:pt>
    <dgm:pt modelId="{CC61B24F-B4F5-4C1C-BB2B-E3868E95FA05}">
      <dgm:prSet/>
      <dgm:spPr/>
      <dgm:t>
        <a:bodyPr/>
        <a:lstStyle/>
        <a:p>
          <a:pPr>
            <a:lnSpc>
              <a:spcPct val="100000"/>
            </a:lnSpc>
          </a:pPr>
          <a:r>
            <a:rPr lang="en-US"/>
            <a:t>Only part of an overall security plan</a:t>
          </a:r>
        </a:p>
      </dgm:t>
    </dgm:pt>
    <dgm:pt modelId="{6C19ED22-9EC0-43A0-929C-000B3D772D5D}" type="parTrans" cxnId="{78854225-BBB5-4167-B8C4-EA1E534849D5}">
      <dgm:prSet/>
      <dgm:spPr/>
      <dgm:t>
        <a:bodyPr/>
        <a:lstStyle/>
        <a:p>
          <a:endParaRPr lang="en-US"/>
        </a:p>
      </dgm:t>
    </dgm:pt>
    <dgm:pt modelId="{B4AD15F8-B585-42F1-9510-A2B6B0E5831E}" type="sibTrans" cxnId="{78854225-BBB5-4167-B8C4-EA1E534849D5}">
      <dgm:prSet/>
      <dgm:spPr/>
      <dgm:t>
        <a:bodyPr/>
        <a:lstStyle/>
        <a:p>
          <a:endParaRPr lang="en-US"/>
        </a:p>
      </dgm:t>
    </dgm:pt>
    <dgm:pt modelId="{66183494-0C86-4DBE-9015-21FFD5542275}" type="pres">
      <dgm:prSet presAssocID="{24B9921D-D998-460F-928C-C9C46A2A1E85}" presName="root" presStyleCnt="0">
        <dgm:presLayoutVars>
          <dgm:dir/>
          <dgm:resizeHandles val="exact"/>
        </dgm:presLayoutVars>
      </dgm:prSet>
      <dgm:spPr/>
    </dgm:pt>
    <dgm:pt modelId="{25CB896E-B467-4A55-A6F0-AC6346E7796C}" type="pres">
      <dgm:prSet presAssocID="{24B9921D-D998-460F-928C-C9C46A2A1E85}" presName="container" presStyleCnt="0">
        <dgm:presLayoutVars>
          <dgm:dir/>
          <dgm:resizeHandles val="exact"/>
        </dgm:presLayoutVars>
      </dgm:prSet>
      <dgm:spPr/>
    </dgm:pt>
    <dgm:pt modelId="{7C7A95E9-301C-45C4-B03C-8781031B0A82}" type="pres">
      <dgm:prSet presAssocID="{292DF78C-C173-4952-B18F-6ADC91DBBB6E}" presName="compNode" presStyleCnt="0"/>
      <dgm:spPr/>
    </dgm:pt>
    <dgm:pt modelId="{C072B035-9F52-4790-8B5D-199730CF19BA}" type="pres">
      <dgm:prSet presAssocID="{292DF78C-C173-4952-B18F-6ADC91DBBB6E}" presName="iconBgRect" presStyleLbl="bgShp" presStyleIdx="0" presStyleCnt="4"/>
      <dgm:spPr/>
    </dgm:pt>
    <dgm:pt modelId="{2BF91BAC-ECA6-4C79-9708-15486434BF45}" type="pres">
      <dgm:prSet presAssocID="{292DF78C-C173-4952-B18F-6ADC91DBBB6E}"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ocument"/>
        </a:ext>
      </dgm:extLst>
    </dgm:pt>
    <dgm:pt modelId="{E506E189-BF2B-42B2-BDF1-8C3998A26F0F}" type="pres">
      <dgm:prSet presAssocID="{292DF78C-C173-4952-B18F-6ADC91DBBB6E}" presName="spaceRect" presStyleCnt="0"/>
      <dgm:spPr/>
    </dgm:pt>
    <dgm:pt modelId="{4E8C66AA-64F9-42CB-994A-877204F1C26D}" type="pres">
      <dgm:prSet presAssocID="{292DF78C-C173-4952-B18F-6ADC91DBBB6E}" presName="textRect" presStyleLbl="revTx" presStyleIdx="0" presStyleCnt="4">
        <dgm:presLayoutVars>
          <dgm:chMax val="1"/>
          <dgm:chPref val="1"/>
        </dgm:presLayoutVars>
      </dgm:prSet>
      <dgm:spPr/>
    </dgm:pt>
    <dgm:pt modelId="{58E3AE2A-3269-45EC-B110-7314BC229717}" type="pres">
      <dgm:prSet presAssocID="{48F55978-725B-4979-9421-9C9C6696BAB5}" presName="sibTrans" presStyleLbl="sibTrans2D1" presStyleIdx="0" presStyleCnt="0"/>
      <dgm:spPr/>
    </dgm:pt>
    <dgm:pt modelId="{311EC285-8B83-44FF-893C-EF72CA34D2A9}" type="pres">
      <dgm:prSet presAssocID="{122A5FC1-A2B7-4E41-870A-56C98B0212F4}" presName="compNode" presStyleCnt="0"/>
      <dgm:spPr/>
    </dgm:pt>
    <dgm:pt modelId="{46070F63-D7F9-43DC-A14D-22F7B23C6EBF}" type="pres">
      <dgm:prSet presAssocID="{122A5FC1-A2B7-4E41-870A-56C98B0212F4}" presName="iconBgRect" presStyleLbl="bgShp" presStyleIdx="1" presStyleCnt="4"/>
      <dgm:spPr/>
    </dgm:pt>
    <dgm:pt modelId="{60418D9B-9AF9-429C-BCBA-88A8142E3C94}" type="pres">
      <dgm:prSet presAssocID="{122A5FC1-A2B7-4E41-870A-56C98B0212F4}"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Key"/>
        </a:ext>
      </dgm:extLst>
    </dgm:pt>
    <dgm:pt modelId="{01F09214-2F44-4359-8C8C-82E707FBDF5C}" type="pres">
      <dgm:prSet presAssocID="{122A5FC1-A2B7-4E41-870A-56C98B0212F4}" presName="spaceRect" presStyleCnt="0"/>
      <dgm:spPr/>
    </dgm:pt>
    <dgm:pt modelId="{95FE24D8-1613-4B78-BE01-C727CD50A4C0}" type="pres">
      <dgm:prSet presAssocID="{122A5FC1-A2B7-4E41-870A-56C98B0212F4}" presName="textRect" presStyleLbl="revTx" presStyleIdx="1" presStyleCnt="4">
        <dgm:presLayoutVars>
          <dgm:chMax val="1"/>
          <dgm:chPref val="1"/>
        </dgm:presLayoutVars>
      </dgm:prSet>
      <dgm:spPr/>
    </dgm:pt>
    <dgm:pt modelId="{5358F18C-B93A-4A01-AD35-A330BBA64B4F}" type="pres">
      <dgm:prSet presAssocID="{E5266A20-5CCF-492D-93E2-FDFC1182BC3A}" presName="sibTrans" presStyleLbl="sibTrans2D1" presStyleIdx="0" presStyleCnt="0"/>
      <dgm:spPr/>
    </dgm:pt>
    <dgm:pt modelId="{835B12F5-A7B3-4EDC-AC2B-AEF41BB22AD9}" type="pres">
      <dgm:prSet presAssocID="{741377E0-1FD3-4983-BFE0-B83DDE2A5C10}" presName="compNode" presStyleCnt="0"/>
      <dgm:spPr/>
    </dgm:pt>
    <dgm:pt modelId="{6B1581A0-04BE-444A-8654-33E0D336A19B}" type="pres">
      <dgm:prSet presAssocID="{741377E0-1FD3-4983-BFE0-B83DDE2A5C10}" presName="iconBgRect" presStyleLbl="bgShp" presStyleIdx="2" presStyleCnt="4"/>
      <dgm:spPr/>
    </dgm:pt>
    <dgm:pt modelId="{F6C7F1A7-ED06-446A-9AA2-C5FF2E913A3B}" type="pres">
      <dgm:prSet presAssocID="{741377E0-1FD3-4983-BFE0-B83DDE2A5C1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Lock"/>
        </a:ext>
      </dgm:extLst>
    </dgm:pt>
    <dgm:pt modelId="{EBFDDA76-6CC5-4E30-B5CB-D39CD32E2080}" type="pres">
      <dgm:prSet presAssocID="{741377E0-1FD3-4983-BFE0-B83DDE2A5C10}" presName="spaceRect" presStyleCnt="0"/>
      <dgm:spPr/>
    </dgm:pt>
    <dgm:pt modelId="{9065018E-6FF3-4A81-98E2-C9515E0479B3}" type="pres">
      <dgm:prSet presAssocID="{741377E0-1FD3-4983-BFE0-B83DDE2A5C10}" presName="textRect" presStyleLbl="revTx" presStyleIdx="2" presStyleCnt="4">
        <dgm:presLayoutVars>
          <dgm:chMax val="1"/>
          <dgm:chPref val="1"/>
        </dgm:presLayoutVars>
      </dgm:prSet>
      <dgm:spPr/>
    </dgm:pt>
    <dgm:pt modelId="{AA4AFCDE-DDFC-4A4E-9F09-789A255E168A}" type="pres">
      <dgm:prSet presAssocID="{0B88B264-A3E4-433F-9573-804E8E672434}" presName="sibTrans" presStyleLbl="sibTrans2D1" presStyleIdx="0" presStyleCnt="0"/>
      <dgm:spPr/>
    </dgm:pt>
    <dgm:pt modelId="{C774566F-A32A-4F5D-8188-77EC8DCFDF79}" type="pres">
      <dgm:prSet presAssocID="{CC61B24F-B4F5-4C1C-BB2B-E3868E95FA05}" presName="compNode" presStyleCnt="0"/>
      <dgm:spPr/>
    </dgm:pt>
    <dgm:pt modelId="{0ECF2A2F-978A-44FF-9777-1F0EF1625FDD}" type="pres">
      <dgm:prSet presAssocID="{CC61B24F-B4F5-4C1C-BB2B-E3868E95FA05}" presName="iconBgRect" presStyleLbl="bgShp" presStyleIdx="3" presStyleCnt="4"/>
      <dgm:spPr/>
    </dgm:pt>
    <dgm:pt modelId="{DFFF84A4-571B-484C-A11D-1899141BDCAB}" type="pres">
      <dgm:prSet presAssocID="{CC61B24F-B4F5-4C1C-BB2B-E3868E95FA05}"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mark"/>
        </a:ext>
      </dgm:extLst>
    </dgm:pt>
    <dgm:pt modelId="{571D7151-9821-466F-AF21-33CC379053F1}" type="pres">
      <dgm:prSet presAssocID="{CC61B24F-B4F5-4C1C-BB2B-E3868E95FA05}" presName="spaceRect" presStyleCnt="0"/>
      <dgm:spPr/>
    </dgm:pt>
    <dgm:pt modelId="{D9D444B2-C795-4423-9A45-5A8AFA51A48C}" type="pres">
      <dgm:prSet presAssocID="{CC61B24F-B4F5-4C1C-BB2B-E3868E95FA05}" presName="textRect" presStyleLbl="revTx" presStyleIdx="3" presStyleCnt="4">
        <dgm:presLayoutVars>
          <dgm:chMax val="1"/>
          <dgm:chPref val="1"/>
        </dgm:presLayoutVars>
      </dgm:prSet>
      <dgm:spPr/>
    </dgm:pt>
  </dgm:ptLst>
  <dgm:cxnLst>
    <dgm:cxn modelId="{A0251212-7FE3-4759-AF9A-7C31B56DBBFD}" srcId="{24B9921D-D998-460F-928C-C9C46A2A1E85}" destId="{292DF78C-C173-4952-B18F-6ADC91DBBB6E}" srcOrd="0" destOrd="0" parTransId="{3477E4FD-CAF8-45CC-9D23-098FC5D560F0}" sibTransId="{48F55978-725B-4979-9421-9C9C6696BAB5}"/>
    <dgm:cxn modelId="{0E9F6522-D06C-431D-9667-ABAABC241743}" type="presOf" srcId="{E5266A20-5CCF-492D-93E2-FDFC1182BC3A}" destId="{5358F18C-B93A-4A01-AD35-A330BBA64B4F}" srcOrd="0" destOrd="0" presId="urn:microsoft.com/office/officeart/2018/2/layout/IconCircleList"/>
    <dgm:cxn modelId="{78854225-BBB5-4167-B8C4-EA1E534849D5}" srcId="{24B9921D-D998-460F-928C-C9C46A2A1E85}" destId="{CC61B24F-B4F5-4C1C-BB2B-E3868E95FA05}" srcOrd="3" destOrd="0" parTransId="{6C19ED22-9EC0-43A0-929C-000B3D772D5D}" sibTransId="{B4AD15F8-B585-42F1-9510-A2B6B0E5831E}"/>
    <dgm:cxn modelId="{E070F131-7BB4-4613-8F77-AEA0FADDC2DB}" type="presOf" srcId="{24B9921D-D998-460F-928C-C9C46A2A1E85}" destId="{66183494-0C86-4DBE-9015-21FFD5542275}" srcOrd="0" destOrd="0" presId="urn:microsoft.com/office/officeart/2018/2/layout/IconCircleList"/>
    <dgm:cxn modelId="{96062767-5FE9-4182-B172-66F78DF1849F}" type="presOf" srcId="{CC61B24F-B4F5-4C1C-BB2B-E3868E95FA05}" destId="{D9D444B2-C795-4423-9A45-5A8AFA51A48C}" srcOrd="0" destOrd="0" presId="urn:microsoft.com/office/officeart/2018/2/layout/IconCircleList"/>
    <dgm:cxn modelId="{D8EF7177-A626-4127-8556-B925EC9B0F61}" type="presOf" srcId="{292DF78C-C173-4952-B18F-6ADC91DBBB6E}" destId="{4E8C66AA-64F9-42CB-994A-877204F1C26D}" srcOrd="0" destOrd="0" presId="urn:microsoft.com/office/officeart/2018/2/layout/IconCircleList"/>
    <dgm:cxn modelId="{14BEC989-A7AF-48B5-9658-B85540286048}" srcId="{24B9921D-D998-460F-928C-C9C46A2A1E85}" destId="{741377E0-1FD3-4983-BFE0-B83DDE2A5C10}" srcOrd="2" destOrd="0" parTransId="{B292E930-7BB6-4611-8CCC-2B4EB728751F}" sibTransId="{0B88B264-A3E4-433F-9573-804E8E672434}"/>
    <dgm:cxn modelId="{16CCCE8F-2B77-428B-841F-F27D842C8836}" type="presOf" srcId="{741377E0-1FD3-4983-BFE0-B83DDE2A5C10}" destId="{9065018E-6FF3-4A81-98E2-C9515E0479B3}" srcOrd="0" destOrd="0" presId="urn:microsoft.com/office/officeart/2018/2/layout/IconCircleList"/>
    <dgm:cxn modelId="{ED776DA8-4D24-475A-8DA7-F630F4772808}" type="presOf" srcId="{0B88B264-A3E4-433F-9573-804E8E672434}" destId="{AA4AFCDE-DDFC-4A4E-9F09-789A255E168A}" srcOrd="0" destOrd="0" presId="urn:microsoft.com/office/officeart/2018/2/layout/IconCircleList"/>
    <dgm:cxn modelId="{99855EB0-99D6-470C-A0F1-BCE97F95E88E}" type="presOf" srcId="{48F55978-725B-4979-9421-9C9C6696BAB5}" destId="{58E3AE2A-3269-45EC-B110-7314BC229717}" srcOrd="0" destOrd="0" presId="urn:microsoft.com/office/officeart/2018/2/layout/IconCircleList"/>
    <dgm:cxn modelId="{B41DD7CF-4321-414C-A84F-552ADD6BDDFC}" type="presOf" srcId="{122A5FC1-A2B7-4E41-870A-56C98B0212F4}" destId="{95FE24D8-1613-4B78-BE01-C727CD50A4C0}" srcOrd="0" destOrd="0" presId="urn:microsoft.com/office/officeart/2018/2/layout/IconCircleList"/>
    <dgm:cxn modelId="{533F26DC-CFE1-4BBC-A615-885195200235}" srcId="{24B9921D-D998-460F-928C-C9C46A2A1E85}" destId="{122A5FC1-A2B7-4E41-870A-56C98B0212F4}" srcOrd="1" destOrd="0" parTransId="{50055460-8448-4384-850C-D6DF03D01B2F}" sibTransId="{E5266A20-5CCF-492D-93E2-FDFC1182BC3A}"/>
    <dgm:cxn modelId="{00050704-D80A-4D93-8A36-40B621F092D3}" type="presParOf" srcId="{66183494-0C86-4DBE-9015-21FFD5542275}" destId="{25CB896E-B467-4A55-A6F0-AC6346E7796C}" srcOrd="0" destOrd="0" presId="urn:microsoft.com/office/officeart/2018/2/layout/IconCircleList"/>
    <dgm:cxn modelId="{7A180598-A69C-4100-B6E0-B5541A14C2F6}" type="presParOf" srcId="{25CB896E-B467-4A55-A6F0-AC6346E7796C}" destId="{7C7A95E9-301C-45C4-B03C-8781031B0A82}" srcOrd="0" destOrd="0" presId="urn:microsoft.com/office/officeart/2018/2/layout/IconCircleList"/>
    <dgm:cxn modelId="{6AC65D12-D043-4C54-875C-3FEB2ABE0196}" type="presParOf" srcId="{7C7A95E9-301C-45C4-B03C-8781031B0A82}" destId="{C072B035-9F52-4790-8B5D-199730CF19BA}" srcOrd="0" destOrd="0" presId="urn:microsoft.com/office/officeart/2018/2/layout/IconCircleList"/>
    <dgm:cxn modelId="{41B20362-C9E1-4434-A51D-9C4C5F9264DE}" type="presParOf" srcId="{7C7A95E9-301C-45C4-B03C-8781031B0A82}" destId="{2BF91BAC-ECA6-4C79-9708-15486434BF45}" srcOrd="1" destOrd="0" presId="urn:microsoft.com/office/officeart/2018/2/layout/IconCircleList"/>
    <dgm:cxn modelId="{CEA59434-044E-435F-9727-6264488DB7FC}" type="presParOf" srcId="{7C7A95E9-301C-45C4-B03C-8781031B0A82}" destId="{E506E189-BF2B-42B2-BDF1-8C3998A26F0F}" srcOrd="2" destOrd="0" presId="urn:microsoft.com/office/officeart/2018/2/layout/IconCircleList"/>
    <dgm:cxn modelId="{A0378CBB-B1FB-420C-9523-85CB8889D594}" type="presParOf" srcId="{7C7A95E9-301C-45C4-B03C-8781031B0A82}" destId="{4E8C66AA-64F9-42CB-994A-877204F1C26D}" srcOrd="3" destOrd="0" presId="urn:microsoft.com/office/officeart/2018/2/layout/IconCircleList"/>
    <dgm:cxn modelId="{EDD89BEE-A762-42AB-AB0B-B28AAF64C5AD}" type="presParOf" srcId="{25CB896E-B467-4A55-A6F0-AC6346E7796C}" destId="{58E3AE2A-3269-45EC-B110-7314BC229717}" srcOrd="1" destOrd="0" presId="urn:microsoft.com/office/officeart/2018/2/layout/IconCircleList"/>
    <dgm:cxn modelId="{077E487F-02F2-47C2-BAC5-AFCA0B83C307}" type="presParOf" srcId="{25CB896E-B467-4A55-A6F0-AC6346E7796C}" destId="{311EC285-8B83-44FF-893C-EF72CA34D2A9}" srcOrd="2" destOrd="0" presId="urn:microsoft.com/office/officeart/2018/2/layout/IconCircleList"/>
    <dgm:cxn modelId="{F348ED68-6854-44FE-9137-7F7C4EF9D53B}" type="presParOf" srcId="{311EC285-8B83-44FF-893C-EF72CA34D2A9}" destId="{46070F63-D7F9-43DC-A14D-22F7B23C6EBF}" srcOrd="0" destOrd="0" presId="urn:microsoft.com/office/officeart/2018/2/layout/IconCircleList"/>
    <dgm:cxn modelId="{5B4D4391-5637-4066-A111-66565E32FD3B}" type="presParOf" srcId="{311EC285-8B83-44FF-893C-EF72CA34D2A9}" destId="{60418D9B-9AF9-429C-BCBA-88A8142E3C94}" srcOrd="1" destOrd="0" presId="urn:microsoft.com/office/officeart/2018/2/layout/IconCircleList"/>
    <dgm:cxn modelId="{D8A3F27B-A846-4E40-BCB0-C992FB3D2C17}" type="presParOf" srcId="{311EC285-8B83-44FF-893C-EF72CA34D2A9}" destId="{01F09214-2F44-4359-8C8C-82E707FBDF5C}" srcOrd="2" destOrd="0" presId="urn:microsoft.com/office/officeart/2018/2/layout/IconCircleList"/>
    <dgm:cxn modelId="{BE4DC1E6-F8A2-4C37-95C8-2ECADE680C72}" type="presParOf" srcId="{311EC285-8B83-44FF-893C-EF72CA34D2A9}" destId="{95FE24D8-1613-4B78-BE01-C727CD50A4C0}" srcOrd="3" destOrd="0" presId="urn:microsoft.com/office/officeart/2018/2/layout/IconCircleList"/>
    <dgm:cxn modelId="{0258304D-846A-4760-876E-5A38E2AB70F2}" type="presParOf" srcId="{25CB896E-B467-4A55-A6F0-AC6346E7796C}" destId="{5358F18C-B93A-4A01-AD35-A330BBA64B4F}" srcOrd="3" destOrd="0" presId="urn:microsoft.com/office/officeart/2018/2/layout/IconCircleList"/>
    <dgm:cxn modelId="{1AC98ED6-8439-46DE-B1BD-7AF1787BA5E5}" type="presParOf" srcId="{25CB896E-B467-4A55-A6F0-AC6346E7796C}" destId="{835B12F5-A7B3-4EDC-AC2B-AEF41BB22AD9}" srcOrd="4" destOrd="0" presId="urn:microsoft.com/office/officeart/2018/2/layout/IconCircleList"/>
    <dgm:cxn modelId="{B5361090-9B23-4106-9D64-0FEEA4835BC0}" type="presParOf" srcId="{835B12F5-A7B3-4EDC-AC2B-AEF41BB22AD9}" destId="{6B1581A0-04BE-444A-8654-33E0D336A19B}" srcOrd="0" destOrd="0" presId="urn:microsoft.com/office/officeart/2018/2/layout/IconCircleList"/>
    <dgm:cxn modelId="{116CA780-9AF7-48A4-97FD-D3E73D573624}" type="presParOf" srcId="{835B12F5-A7B3-4EDC-AC2B-AEF41BB22AD9}" destId="{F6C7F1A7-ED06-446A-9AA2-C5FF2E913A3B}" srcOrd="1" destOrd="0" presId="urn:microsoft.com/office/officeart/2018/2/layout/IconCircleList"/>
    <dgm:cxn modelId="{079A0428-F678-4080-831D-E3BA4A326664}" type="presParOf" srcId="{835B12F5-A7B3-4EDC-AC2B-AEF41BB22AD9}" destId="{EBFDDA76-6CC5-4E30-B5CB-D39CD32E2080}" srcOrd="2" destOrd="0" presId="urn:microsoft.com/office/officeart/2018/2/layout/IconCircleList"/>
    <dgm:cxn modelId="{47A03F1A-5FA4-4184-B18B-A2332479B373}" type="presParOf" srcId="{835B12F5-A7B3-4EDC-AC2B-AEF41BB22AD9}" destId="{9065018E-6FF3-4A81-98E2-C9515E0479B3}" srcOrd="3" destOrd="0" presId="urn:microsoft.com/office/officeart/2018/2/layout/IconCircleList"/>
    <dgm:cxn modelId="{94D6531A-1AA1-454B-9C21-2F64273A3561}" type="presParOf" srcId="{25CB896E-B467-4A55-A6F0-AC6346E7796C}" destId="{AA4AFCDE-DDFC-4A4E-9F09-789A255E168A}" srcOrd="5" destOrd="0" presId="urn:microsoft.com/office/officeart/2018/2/layout/IconCircleList"/>
    <dgm:cxn modelId="{C1720555-9454-45FE-9C98-4B60CD26D659}" type="presParOf" srcId="{25CB896E-B467-4A55-A6F0-AC6346E7796C}" destId="{C774566F-A32A-4F5D-8188-77EC8DCFDF79}" srcOrd="6" destOrd="0" presId="urn:microsoft.com/office/officeart/2018/2/layout/IconCircleList"/>
    <dgm:cxn modelId="{6442F875-4CCF-4DD9-AE5E-B4FDD036D7E5}" type="presParOf" srcId="{C774566F-A32A-4F5D-8188-77EC8DCFDF79}" destId="{0ECF2A2F-978A-44FF-9777-1F0EF1625FDD}" srcOrd="0" destOrd="0" presId="urn:microsoft.com/office/officeart/2018/2/layout/IconCircleList"/>
    <dgm:cxn modelId="{930467F0-CDFD-4432-B450-EE3285316533}" type="presParOf" srcId="{C774566F-A32A-4F5D-8188-77EC8DCFDF79}" destId="{DFFF84A4-571B-484C-A11D-1899141BDCAB}" srcOrd="1" destOrd="0" presId="urn:microsoft.com/office/officeart/2018/2/layout/IconCircleList"/>
    <dgm:cxn modelId="{51614B65-2F4B-43D0-9FC5-E1F2DD2E6CEA}" type="presParOf" srcId="{C774566F-A32A-4F5D-8188-77EC8DCFDF79}" destId="{571D7151-9821-466F-AF21-33CC379053F1}" srcOrd="2" destOrd="0" presId="urn:microsoft.com/office/officeart/2018/2/layout/IconCircleList"/>
    <dgm:cxn modelId="{D7F265C0-C2F0-413B-A53E-E1D07ACA1542}" type="presParOf" srcId="{C774566F-A32A-4F5D-8188-77EC8DCFDF79}" destId="{D9D444B2-C795-4423-9A45-5A8AFA51A48C}"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6E30150-96FA-402D-80CB-F0796615B8B9}" type="doc">
      <dgm:prSet loTypeId="urn:microsoft.com/office/officeart/2005/8/layout/vList2" loCatId="list" qsTypeId="urn:microsoft.com/office/officeart/2005/8/quickstyle/simple1" qsCatId="simple" csTypeId="urn:microsoft.com/office/officeart/2005/8/colors/colorful3" csCatId="colorful"/>
      <dgm:spPr/>
      <dgm:t>
        <a:bodyPr/>
        <a:lstStyle/>
        <a:p>
          <a:endParaRPr lang="en-US"/>
        </a:p>
      </dgm:t>
    </dgm:pt>
    <dgm:pt modelId="{EF937A6D-02DC-4218-833E-E34FF8C6EFE9}">
      <dgm:prSet/>
      <dgm:spPr/>
      <dgm:t>
        <a:bodyPr/>
        <a:lstStyle/>
        <a:p>
          <a:r>
            <a:rPr lang="en-US"/>
            <a:t>Randomized</a:t>
          </a:r>
        </a:p>
      </dgm:t>
    </dgm:pt>
    <dgm:pt modelId="{2C0532FD-D2F7-41FF-A2C8-5802236D985E}" type="parTrans" cxnId="{7C510695-9544-4502-AD40-419DBDD340BF}">
      <dgm:prSet/>
      <dgm:spPr/>
      <dgm:t>
        <a:bodyPr/>
        <a:lstStyle/>
        <a:p>
          <a:endParaRPr lang="en-US"/>
        </a:p>
      </dgm:t>
    </dgm:pt>
    <dgm:pt modelId="{01C605B7-BA4A-470B-B9A3-6043EED3E61D}" type="sibTrans" cxnId="{7C510695-9544-4502-AD40-419DBDD340BF}">
      <dgm:prSet/>
      <dgm:spPr/>
      <dgm:t>
        <a:bodyPr/>
        <a:lstStyle/>
        <a:p>
          <a:endParaRPr lang="en-US"/>
        </a:p>
      </dgm:t>
    </dgm:pt>
    <dgm:pt modelId="{927363C5-7834-43DE-B2D2-B5706B153D5F}">
      <dgm:prSet/>
      <dgm:spPr/>
      <dgm:t>
        <a:bodyPr/>
        <a:lstStyle/>
        <a:p>
          <a:r>
            <a:rPr lang="en-US"/>
            <a:t>Unpredictable results, more secure</a:t>
          </a:r>
        </a:p>
      </dgm:t>
    </dgm:pt>
    <dgm:pt modelId="{9F8C27F7-8946-4364-BB9F-7BCC3651DF4B}" type="parTrans" cxnId="{98D22E72-F11E-499C-99A0-14ADD9CADE61}">
      <dgm:prSet/>
      <dgm:spPr/>
      <dgm:t>
        <a:bodyPr/>
        <a:lstStyle/>
        <a:p>
          <a:endParaRPr lang="en-US"/>
        </a:p>
      </dgm:t>
    </dgm:pt>
    <dgm:pt modelId="{255F4E66-AF4F-43F2-A48D-CBE23AD2F4BD}" type="sibTrans" cxnId="{98D22E72-F11E-499C-99A0-14ADD9CADE61}">
      <dgm:prSet/>
      <dgm:spPr/>
      <dgm:t>
        <a:bodyPr/>
        <a:lstStyle/>
        <a:p>
          <a:endParaRPr lang="en-US"/>
        </a:p>
      </dgm:t>
    </dgm:pt>
    <dgm:pt modelId="{3E7C9188-5D78-4D02-82D6-20BCBA14C70D}">
      <dgm:prSet/>
      <dgm:spPr/>
      <dgm:t>
        <a:bodyPr/>
        <a:lstStyle/>
        <a:p>
          <a:r>
            <a:rPr lang="en-US" dirty="0"/>
            <a:t>No support for equality searches, joins, grouping, or indexing</a:t>
          </a:r>
        </a:p>
      </dgm:t>
    </dgm:pt>
    <dgm:pt modelId="{2842874D-FE14-469C-AD76-AD7A3D36FC50}" type="parTrans" cxnId="{981A04E4-7443-43A3-B9CB-CACB593928B6}">
      <dgm:prSet/>
      <dgm:spPr/>
      <dgm:t>
        <a:bodyPr/>
        <a:lstStyle/>
        <a:p>
          <a:endParaRPr lang="en-US"/>
        </a:p>
      </dgm:t>
    </dgm:pt>
    <dgm:pt modelId="{E0E4A610-3F52-4F61-AB83-4B41E5C32B67}" type="sibTrans" cxnId="{981A04E4-7443-43A3-B9CB-CACB593928B6}">
      <dgm:prSet/>
      <dgm:spPr/>
      <dgm:t>
        <a:bodyPr/>
        <a:lstStyle/>
        <a:p>
          <a:endParaRPr lang="en-US"/>
        </a:p>
      </dgm:t>
    </dgm:pt>
    <dgm:pt modelId="{71D9BDF0-55D9-4EB4-9981-D351AE419AEF}">
      <dgm:prSet/>
      <dgm:spPr/>
      <dgm:t>
        <a:bodyPr/>
        <a:lstStyle/>
        <a:p>
          <a:r>
            <a:rPr lang="en-US"/>
            <a:t>Use for data that is returned, but not queried</a:t>
          </a:r>
        </a:p>
      </dgm:t>
    </dgm:pt>
    <dgm:pt modelId="{E8616D70-FB4D-43EF-A698-11BB833167D5}" type="parTrans" cxnId="{DD1BAFC4-2448-44DD-92F0-D57B406D9DED}">
      <dgm:prSet/>
      <dgm:spPr/>
      <dgm:t>
        <a:bodyPr/>
        <a:lstStyle/>
        <a:p>
          <a:endParaRPr lang="en-US"/>
        </a:p>
      </dgm:t>
    </dgm:pt>
    <dgm:pt modelId="{34B7FFAD-5D91-49DB-B730-35654759A4E8}" type="sibTrans" cxnId="{DD1BAFC4-2448-44DD-92F0-D57B406D9DED}">
      <dgm:prSet/>
      <dgm:spPr/>
      <dgm:t>
        <a:bodyPr/>
        <a:lstStyle/>
        <a:p>
          <a:endParaRPr lang="en-US"/>
        </a:p>
      </dgm:t>
    </dgm:pt>
    <dgm:pt modelId="{2D26B72E-E24A-4EEC-B1B0-22CD053DE655}">
      <dgm:prSet/>
      <dgm:spPr/>
      <dgm:t>
        <a:bodyPr/>
        <a:lstStyle/>
        <a:p>
          <a:r>
            <a:rPr lang="en-US"/>
            <a:t>Deterministic</a:t>
          </a:r>
        </a:p>
      </dgm:t>
    </dgm:pt>
    <dgm:pt modelId="{04E3FF78-7A0D-417E-8721-B3AD0E8E02EE}" type="parTrans" cxnId="{9F1E23A7-0300-4DD3-9F32-3185084F0898}">
      <dgm:prSet/>
      <dgm:spPr/>
      <dgm:t>
        <a:bodyPr/>
        <a:lstStyle/>
        <a:p>
          <a:endParaRPr lang="en-US"/>
        </a:p>
      </dgm:t>
    </dgm:pt>
    <dgm:pt modelId="{52F04450-33DE-4C0E-A22B-E73CE34B6484}" type="sibTrans" cxnId="{9F1E23A7-0300-4DD3-9F32-3185084F0898}">
      <dgm:prSet/>
      <dgm:spPr/>
      <dgm:t>
        <a:bodyPr/>
        <a:lstStyle/>
        <a:p>
          <a:endParaRPr lang="en-US"/>
        </a:p>
      </dgm:t>
    </dgm:pt>
    <dgm:pt modelId="{6A46B55B-777E-4B1C-BE02-92B49E7DDE30}">
      <dgm:prSet/>
      <dgm:spPr/>
      <dgm:t>
        <a:bodyPr/>
        <a:lstStyle/>
        <a:p>
          <a:r>
            <a:rPr lang="en-US"/>
            <a:t>Predictable results, less secure</a:t>
          </a:r>
        </a:p>
      </dgm:t>
    </dgm:pt>
    <dgm:pt modelId="{67DA7204-B458-41F0-89F9-506126F443B9}" type="parTrans" cxnId="{53233A24-9899-4BF0-9D23-28E0171A46E7}">
      <dgm:prSet/>
      <dgm:spPr/>
      <dgm:t>
        <a:bodyPr/>
        <a:lstStyle/>
        <a:p>
          <a:endParaRPr lang="en-US"/>
        </a:p>
      </dgm:t>
    </dgm:pt>
    <dgm:pt modelId="{EC8A2421-7E00-4D77-8CDC-3D4617199CFF}" type="sibTrans" cxnId="{53233A24-9899-4BF0-9D23-28E0171A46E7}">
      <dgm:prSet/>
      <dgm:spPr/>
      <dgm:t>
        <a:bodyPr/>
        <a:lstStyle/>
        <a:p>
          <a:endParaRPr lang="en-US"/>
        </a:p>
      </dgm:t>
    </dgm:pt>
    <dgm:pt modelId="{0655FFD0-3DBE-4553-9FC1-A17D6347479B}">
      <dgm:prSet/>
      <dgm:spPr/>
      <dgm:t>
        <a:bodyPr/>
        <a:lstStyle/>
        <a:p>
          <a:r>
            <a:rPr lang="en-US"/>
            <a:t>Use for data that must be queried (equality support only)</a:t>
          </a:r>
        </a:p>
      </dgm:t>
    </dgm:pt>
    <dgm:pt modelId="{E450078C-93F1-4013-87EC-0C2AFD1E4796}" type="parTrans" cxnId="{803CE59A-5188-4D08-A49C-49AAE7A80870}">
      <dgm:prSet/>
      <dgm:spPr/>
      <dgm:t>
        <a:bodyPr/>
        <a:lstStyle/>
        <a:p>
          <a:endParaRPr lang="en-US"/>
        </a:p>
      </dgm:t>
    </dgm:pt>
    <dgm:pt modelId="{11D2D584-E0CC-4D5A-84EB-4BA067CB2728}" type="sibTrans" cxnId="{803CE59A-5188-4D08-A49C-49AAE7A80870}">
      <dgm:prSet/>
      <dgm:spPr/>
      <dgm:t>
        <a:bodyPr/>
        <a:lstStyle/>
        <a:p>
          <a:endParaRPr lang="en-US"/>
        </a:p>
      </dgm:t>
    </dgm:pt>
    <dgm:pt modelId="{28E2B1E8-3FE9-4E78-AA83-BAB79BDB395C}">
      <dgm:prSet/>
      <dgm:spPr/>
      <dgm:t>
        <a:bodyPr/>
        <a:lstStyle/>
        <a:p>
          <a:r>
            <a:rPr lang="en-US"/>
            <a:t>Easier to guess by examining encryption results</a:t>
          </a:r>
        </a:p>
      </dgm:t>
    </dgm:pt>
    <dgm:pt modelId="{A57A5A2E-4A3A-4D1D-8EB4-E1A8925D0868}" type="parTrans" cxnId="{D0F85843-B786-4EF1-A565-D9EEBA750993}">
      <dgm:prSet/>
      <dgm:spPr/>
      <dgm:t>
        <a:bodyPr/>
        <a:lstStyle/>
        <a:p>
          <a:endParaRPr lang="en-US"/>
        </a:p>
      </dgm:t>
    </dgm:pt>
    <dgm:pt modelId="{4482800B-1E33-4FA3-A7F5-140ED139B57D}" type="sibTrans" cxnId="{D0F85843-B786-4EF1-A565-D9EEBA750993}">
      <dgm:prSet/>
      <dgm:spPr/>
      <dgm:t>
        <a:bodyPr/>
        <a:lstStyle/>
        <a:p>
          <a:endParaRPr lang="en-US"/>
        </a:p>
      </dgm:t>
    </dgm:pt>
    <dgm:pt modelId="{77AEB1E8-0C50-4EDA-BDF6-BB86555A2A97}">
      <dgm:prSet/>
      <dgm:spPr/>
      <dgm:t>
        <a:bodyPr/>
        <a:lstStyle/>
        <a:p>
          <a:r>
            <a:rPr lang="en-US"/>
            <a:t>Increased risk for small value sets (True/False)</a:t>
          </a:r>
        </a:p>
      </dgm:t>
    </dgm:pt>
    <dgm:pt modelId="{6656FA7D-E6C9-4790-A573-D3CBCA649412}" type="parTrans" cxnId="{B24787A7-D400-4ED6-8856-905C1DF14923}">
      <dgm:prSet/>
      <dgm:spPr/>
      <dgm:t>
        <a:bodyPr/>
        <a:lstStyle/>
        <a:p>
          <a:endParaRPr lang="en-US"/>
        </a:p>
      </dgm:t>
    </dgm:pt>
    <dgm:pt modelId="{5C7FEDB1-EDDD-431A-BD31-3AE215260054}" type="sibTrans" cxnId="{B24787A7-D400-4ED6-8856-905C1DF14923}">
      <dgm:prSet/>
      <dgm:spPr/>
      <dgm:t>
        <a:bodyPr/>
        <a:lstStyle/>
        <a:p>
          <a:endParaRPr lang="en-US"/>
        </a:p>
      </dgm:t>
    </dgm:pt>
    <dgm:pt modelId="{4B4316D6-F06A-4D17-BB9D-F107C7046018}" type="pres">
      <dgm:prSet presAssocID="{56E30150-96FA-402D-80CB-F0796615B8B9}" presName="linear" presStyleCnt="0">
        <dgm:presLayoutVars>
          <dgm:animLvl val="lvl"/>
          <dgm:resizeHandles val="exact"/>
        </dgm:presLayoutVars>
      </dgm:prSet>
      <dgm:spPr/>
    </dgm:pt>
    <dgm:pt modelId="{4B6C7B29-5E29-475E-8D25-05B3DF5F7EF1}" type="pres">
      <dgm:prSet presAssocID="{EF937A6D-02DC-4218-833E-E34FF8C6EFE9}" presName="parentText" presStyleLbl="node1" presStyleIdx="0" presStyleCnt="2">
        <dgm:presLayoutVars>
          <dgm:chMax val="0"/>
          <dgm:bulletEnabled val="1"/>
        </dgm:presLayoutVars>
      </dgm:prSet>
      <dgm:spPr/>
    </dgm:pt>
    <dgm:pt modelId="{347DDF72-833B-4D71-9AB8-B1CAECC008C2}" type="pres">
      <dgm:prSet presAssocID="{EF937A6D-02DC-4218-833E-E34FF8C6EFE9}" presName="childText" presStyleLbl="revTx" presStyleIdx="0" presStyleCnt="2">
        <dgm:presLayoutVars>
          <dgm:bulletEnabled val="1"/>
        </dgm:presLayoutVars>
      </dgm:prSet>
      <dgm:spPr/>
    </dgm:pt>
    <dgm:pt modelId="{60288A71-040D-49F0-9C9C-D3A0AF3A1D2D}" type="pres">
      <dgm:prSet presAssocID="{2D26B72E-E24A-4EEC-B1B0-22CD053DE655}" presName="parentText" presStyleLbl="node1" presStyleIdx="1" presStyleCnt="2">
        <dgm:presLayoutVars>
          <dgm:chMax val="0"/>
          <dgm:bulletEnabled val="1"/>
        </dgm:presLayoutVars>
      </dgm:prSet>
      <dgm:spPr/>
    </dgm:pt>
    <dgm:pt modelId="{15059464-07DD-4E25-9393-A670A9C95EF8}" type="pres">
      <dgm:prSet presAssocID="{2D26B72E-E24A-4EEC-B1B0-22CD053DE655}" presName="childText" presStyleLbl="revTx" presStyleIdx="1" presStyleCnt="2">
        <dgm:presLayoutVars>
          <dgm:bulletEnabled val="1"/>
        </dgm:presLayoutVars>
      </dgm:prSet>
      <dgm:spPr/>
    </dgm:pt>
  </dgm:ptLst>
  <dgm:cxnLst>
    <dgm:cxn modelId="{ED36611C-948A-44EE-B3C2-A0E38039D8A4}" type="presOf" srcId="{28E2B1E8-3FE9-4E78-AA83-BAB79BDB395C}" destId="{15059464-07DD-4E25-9393-A670A9C95EF8}" srcOrd="0" destOrd="2" presId="urn:microsoft.com/office/officeart/2005/8/layout/vList2"/>
    <dgm:cxn modelId="{53233A24-9899-4BF0-9D23-28E0171A46E7}" srcId="{2D26B72E-E24A-4EEC-B1B0-22CD053DE655}" destId="{6A46B55B-777E-4B1C-BE02-92B49E7DDE30}" srcOrd="0" destOrd="0" parTransId="{67DA7204-B458-41F0-89F9-506126F443B9}" sibTransId="{EC8A2421-7E00-4D77-8CDC-3D4617199CFF}"/>
    <dgm:cxn modelId="{648FE45D-4EDE-4F56-8933-BB2C54FB2C11}" type="presOf" srcId="{2D26B72E-E24A-4EEC-B1B0-22CD053DE655}" destId="{60288A71-040D-49F0-9C9C-D3A0AF3A1D2D}" srcOrd="0" destOrd="0" presId="urn:microsoft.com/office/officeart/2005/8/layout/vList2"/>
    <dgm:cxn modelId="{D0F85843-B786-4EF1-A565-D9EEBA750993}" srcId="{2D26B72E-E24A-4EEC-B1B0-22CD053DE655}" destId="{28E2B1E8-3FE9-4E78-AA83-BAB79BDB395C}" srcOrd="2" destOrd="0" parTransId="{A57A5A2E-4A3A-4D1D-8EB4-E1A8925D0868}" sibTransId="{4482800B-1E33-4FA3-A7F5-140ED139B57D}"/>
    <dgm:cxn modelId="{EE424C70-FE94-40DA-A5A0-67DE63C9362E}" type="presOf" srcId="{EF937A6D-02DC-4218-833E-E34FF8C6EFE9}" destId="{4B6C7B29-5E29-475E-8D25-05B3DF5F7EF1}" srcOrd="0" destOrd="0" presId="urn:microsoft.com/office/officeart/2005/8/layout/vList2"/>
    <dgm:cxn modelId="{98D22E72-F11E-499C-99A0-14ADD9CADE61}" srcId="{EF937A6D-02DC-4218-833E-E34FF8C6EFE9}" destId="{927363C5-7834-43DE-B2D2-B5706B153D5F}" srcOrd="0" destOrd="0" parTransId="{9F8C27F7-8946-4364-BB9F-7BCC3651DF4B}" sibTransId="{255F4E66-AF4F-43F2-A48D-CBE23AD2F4BD}"/>
    <dgm:cxn modelId="{1B34008D-5392-47E3-8926-71B248E4594B}" type="presOf" srcId="{927363C5-7834-43DE-B2D2-B5706B153D5F}" destId="{347DDF72-833B-4D71-9AB8-B1CAECC008C2}" srcOrd="0" destOrd="0" presId="urn:microsoft.com/office/officeart/2005/8/layout/vList2"/>
    <dgm:cxn modelId="{7C510695-9544-4502-AD40-419DBDD340BF}" srcId="{56E30150-96FA-402D-80CB-F0796615B8B9}" destId="{EF937A6D-02DC-4218-833E-E34FF8C6EFE9}" srcOrd="0" destOrd="0" parTransId="{2C0532FD-D2F7-41FF-A2C8-5802236D985E}" sibTransId="{01C605B7-BA4A-470B-B9A3-6043EED3E61D}"/>
    <dgm:cxn modelId="{803CE59A-5188-4D08-A49C-49AAE7A80870}" srcId="{2D26B72E-E24A-4EEC-B1B0-22CD053DE655}" destId="{0655FFD0-3DBE-4553-9FC1-A17D6347479B}" srcOrd="1" destOrd="0" parTransId="{E450078C-93F1-4013-87EC-0C2AFD1E4796}" sibTransId="{11D2D584-E0CC-4D5A-84EB-4BA067CB2728}"/>
    <dgm:cxn modelId="{B05D25A4-6257-47FC-8015-A45A36DA21F3}" type="presOf" srcId="{77AEB1E8-0C50-4EDA-BDF6-BB86555A2A97}" destId="{15059464-07DD-4E25-9393-A670A9C95EF8}" srcOrd="0" destOrd="3" presId="urn:microsoft.com/office/officeart/2005/8/layout/vList2"/>
    <dgm:cxn modelId="{9F1E23A7-0300-4DD3-9F32-3185084F0898}" srcId="{56E30150-96FA-402D-80CB-F0796615B8B9}" destId="{2D26B72E-E24A-4EEC-B1B0-22CD053DE655}" srcOrd="1" destOrd="0" parTransId="{04E3FF78-7A0D-417E-8721-B3AD0E8E02EE}" sibTransId="{52F04450-33DE-4C0E-A22B-E73CE34B6484}"/>
    <dgm:cxn modelId="{B24787A7-D400-4ED6-8856-905C1DF14923}" srcId="{28E2B1E8-3FE9-4E78-AA83-BAB79BDB395C}" destId="{77AEB1E8-0C50-4EDA-BDF6-BB86555A2A97}" srcOrd="0" destOrd="0" parTransId="{6656FA7D-E6C9-4790-A573-D3CBCA649412}" sibTransId="{5C7FEDB1-EDDD-431A-BD31-3AE215260054}"/>
    <dgm:cxn modelId="{5BAC71B9-D11B-47B7-B2A1-7FF45D024F48}" type="presOf" srcId="{56E30150-96FA-402D-80CB-F0796615B8B9}" destId="{4B4316D6-F06A-4D17-BB9D-F107C7046018}" srcOrd="0" destOrd="0" presId="urn:microsoft.com/office/officeart/2005/8/layout/vList2"/>
    <dgm:cxn modelId="{398AFDBC-1615-4CF6-BAC3-90BF6121A605}" type="presOf" srcId="{6A46B55B-777E-4B1C-BE02-92B49E7DDE30}" destId="{15059464-07DD-4E25-9393-A670A9C95EF8}" srcOrd="0" destOrd="0" presId="urn:microsoft.com/office/officeart/2005/8/layout/vList2"/>
    <dgm:cxn modelId="{78BA4DBE-F948-435F-999A-65E777FDEAA1}" type="presOf" srcId="{71D9BDF0-55D9-4EB4-9981-D351AE419AEF}" destId="{347DDF72-833B-4D71-9AB8-B1CAECC008C2}" srcOrd="0" destOrd="2" presId="urn:microsoft.com/office/officeart/2005/8/layout/vList2"/>
    <dgm:cxn modelId="{DD1BAFC4-2448-44DD-92F0-D57B406D9DED}" srcId="{EF937A6D-02DC-4218-833E-E34FF8C6EFE9}" destId="{71D9BDF0-55D9-4EB4-9981-D351AE419AEF}" srcOrd="2" destOrd="0" parTransId="{E8616D70-FB4D-43EF-A698-11BB833167D5}" sibTransId="{34B7FFAD-5D91-49DB-B730-35654759A4E8}"/>
    <dgm:cxn modelId="{981A04E4-7443-43A3-B9CB-CACB593928B6}" srcId="{EF937A6D-02DC-4218-833E-E34FF8C6EFE9}" destId="{3E7C9188-5D78-4D02-82D6-20BCBA14C70D}" srcOrd="1" destOrd="0" parTransId="{2842874D-FE14-469C-AD76-AD7A3D36FC50}" sibTransId="{E0E4A610-3F52-4F61-AB83-4B41E5C32B67}"/>
    <dgm:cxn modelId="{B92030F1-53BD-4AA4-A6D1-C84372A7DA65}" type="presOf" srcId="{0655FFD0-3DBE-4553-9FC1-A17D6347479B}" destId="{15059464-07DD-4E25-9393-A670A9C95EF8}" srcOrd="0" destOrd="1" presId="urn:microsoft.com/office/officeart/2005/8/layout/vList2"/>
    <dgm:cxn modelId="{42DE91FE-F184-46E4-89B8-B87B79B4B3BE}" type="presOf" srcId="{3E7C9188-5D78-4D02-82D6-20BCBA14C70D}" destId="{347DDF72-833B-4D71-9AB8-B1CAECC008C2}" srcOrd="0" destOrd="1" presId="urn:microsoft.com/office/officeart/2005/8/layout/vList2"/>
    <dgm:cxn modelId="{58052DC5-2E53-453F-BAF4-186A61982D07}" type="presParOf" srcId="{4B4316D6-F06A-4D17-BB9D-F107C7046018}" destId="{4B6C7B29-5E29-475E-8D25-05B3DF5F7EF1}" srcOrd="0" destOrd="0" presId="urn:microsoft.com/office/officeart/2005/8/layout/vList2"/>
    <dgm:cxn modelId="{4B53CC2A-DAA5-4296-9674-E4E30974D523}" type="presParOf" srcId="{4B4316D6-F06A-4D17-BB9D-F107C7046018}" destId="{347DDF72-833B-4D71-9AB8-B1CAECC008C2}" srcOrd="1" destOrd="0" presId="urn:microsoft.com/office/officeart/2005/8/layout/vList2"/>
    <dgm:cxn modelId="{9F6125BE-856A-4CBA-BB1C-9EEF9BAF57A6}" type="presParOf" srcId="{4B4316D6-F06A-4D17-BB9D-F107C7046018}" destId="{60288A71-040D-49F0-9C9C-D3A0AF3A1D2D}" srcOrd="2" destOrd="0" presId="urn:microsoft.com/office/officeart/2005/8/layout/vList2"/>
    <dgm:cxn modelId="{5186D40E-19DB-4296-A0A2-FEAEE0699CE4}" type="presParOf" srcId="{4B4316D6-F06A-4D17-BB9D-F107C7046018}" destId="{15059464-07DD-4E25-9393-A670A9C95EF8}"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1652A35-7085-43EC-B9FA-3053B838E293}" type="doc">
      <dgm:prSet loTypeId="urn:diagrams.loki3.com/BracketList" loCatId="list" qsTypeId="urn:microsoft.com/office/officeart/2005/8/quickstyle/simple1" qsCatId="simple" csTypeId="urn:microsoft.com/office/officeart/2005/8/colors/colorful1" csCatId="colorful" phldr="1"/>
      <dgm:spPr/>
      <dgm:t>
        <a:bodyPr/>
        <a:lstStyle/>
        <a:p>
          <a:endParaRPr lang="en-US"/>
        </a:p>
      </dgm:t>
    </dgm:pt>
    <dgm:pt modelId="{FFD0E221-8531-4B58-A677-8E6A155631ED}">
      <dgm:prSet custT="1"/>
      <dgm:spPr/>
      <dgm:t>
        <a:bodyPr/>
        <a:lstStyle/>
        <a:p>
          <a:r>
            <a:rPr lang="en-US" sz="2800" baseline="0" dirty="0"/>
            <a:t>Randomized encryption</a:t>
          </a:r>
          <a:endParaRPr lang="en-US" sz="2800" dirty="0"/>
        </a:p>
      </dgm:t>
    </dgm:pt>
    <dgm:pt modelId="{A888ED6F-22A5-4CD6-92C6-DDAD4BD4B4A7}" type="parTrans" cxnId="{DF22C21D-F489-4AD4-BE24-234E1FC0E8FC}">
      <dgm:prSet/>
      <dgm:spPr/>
      <dgm:t>
        <a:bodyPr/>
        <a:lstStyle/>
        <a:p>
          <a:endParaRPr lang="en-US" sz="2800"/>
        </a:p>
      </dgm:t>
    </dgm:pt>
    <dgm:pt modelId="{2937ACE3-3BFE-47B1-8E57-3CEB27448AF3}" type="sibTrans" cxnId="{DF22C21D-F489-4AD4-BE24-234E1FC0E8FC}">
      <dgm:prSet/>
      <dgm:spPr/>
      <dgm:t>
        <a:bodyPr/>
        <a:lstStyle/>
        <a:p>
          <a:endParaRPr lang="en-US" sz="2800"/>
        </a:p>
      </dgm:t>
    </dgm:pt>
    <dgm:pt modelId="{1BA853AA-C0E7-4582-97FF-940AADFFDB68}">
      <dgm:prSet custT="1"/>
      <dgm:spPr/>
      <dgm:t>
        <a:bodyPr/>
        <a:lstStyle/>
        <a:p>
          <a:r>
            <a:rPr lang="en-US" sz="2800" baseline="0" dirty="0"/>
            <a:t>Encrypt (‘123-45-6789’) = 0x0123A99C</a:t>
          </a:r>
          <a:endParaRPr lang="en-US" sz="2800" dirty="0"/>
        </a:p>
      </dgm:t>
    </dgm:pt>
    <dgm:pt modelId="{F537B3A0-F0CE-43F9-A208-054169D95E07}" type="parTrans" cxnId="{B62AD020-14DA-4C6F-B4D4-5193604C5F97}">
      <dgm:prSet/>
      <dgm:spPr/>
      <dgm:t>
        <a:bodyPr/>
        <a:lstStyle/>
        <a:p>
          <a:endParaRPr lang="en-US" sz="2800"/>
        </a:p>
      </dgm:t>
    </dgm:pt>
    <dgm:pt modelId="{43739201-CFC9-41FD-AC2B-70EECB16A299}" type="sibTrans" cxnId="{B62AD020-14DA-4C6F-B4D4-5193604C5F97}">
      <dgm:prSet/>
      <dgm:spPr/>
      <dgm:t>
        <a:bodyPr/>
        <a:lstStyle/>
        <a:p>
          <a:endParaRPr lang="en-US" sz="2800"/>
        </a:p>
      </dgm:t>
    </dgm:pt>
    <dgm:pt modelId="{E74EE592-79D5-435E-9001-76298CF81DF6}">
      <dgm:prSet custT="1"/>
      <dgm:spPr/>
      <dgm:t>
        <a:bodyPr/>
        <a:lstStyle/>
        <a:p>
          <a:r>
            <a:rPr lang="en-US" sz="2800" baseline="0" dirty="0"/>
            <a:t>Repeat: Encrypt (‘123-45-6789’) = 0x01EB449B</a:t>
          </a:r>
          <a:endParaRPr lang="en-US" sz="2800" dirty="0"/>
        </a:p>
      </dgm:t>
    </dgm:pt>
    <dgm:pt modelId="{56C5A02A-C5E5-409D-91A9-87D9C7B9C67C}" type="parTrans" cxnId="{6A43A416-BDEC-4104-BB93-33FECB550036}">
      <dgm:prSet/>
      <dgm:spPr/>
      <dgm:t>
        <a:bodyPr/>
        <a:lstStyle/>
        <a:p>
          <a:endParaRPr lang="en-US" sz="2800"/>
        </a:p>
      </dgm:t>
    </dgm:pt>
    <dgm:pt modelId="{13336CDD-5FBB-4B99-9AB9-CE31D59FD658}" type="sibTrans" cxnId="{6A43A416-BDEC-4104-BB93-33FECB550036}">
      <dgm:prSet/>
      <dgm:spPr/>
      <dgm:t>
        <a:bodyPr/>
        <a:lstStyle/>
        <a:p>
          <a:endParaRPr lang="en-US" sz="2800"/>
        </a:p>
      </dgm:t>
    </dgm:pt>
    <dgm:pt modelId="{B30E3783-91C7-4A8A-8F85-A728FBC28991}">
      <dgm:prSet custT="1"/>
      <dgm:spPr/>
      <dgm:t>
        <a:bodyPr/>
        <a:lstStyle/>
        <a:p>
          <a:r>
            <a:rPr lang="en-US" sz="2800" baseline="0"/>
            <a:t>Deterministic encryption</a:t>
          </a:r>
          <a:endParaRPr lang="en-US" sz="2800"/>
        </a:p>
      </dgm:t>
    </dgm:pt>
    <dgm:pt modelId="{94FE3C12-EBBC-43A9-AC5A-D0C62C867321}" type="parTrans" cxnId="{7ED681B7-034B-49EC-A962-2A64F8C73B37}">
      <dgm:prSet/>
      <dgm:spPr/>
      <dgm:t>
        <a:bodyPr/>
        <a:lstStyle/>
        <a:p>
          <a:endParaRPr lang="en-US" sz="2800"/>
        </a:p>
      </dgm:t>
    </dgm:pt>
    <dgm:pt modelId="{AABC8376-4A9F-4742-B1B5-07DC00D183B5}" type="sibTrans" cxnId="{7ED681B7-034B-49EC-A962-2A64F8C73B37}">
      <dgm:prSet/>
      <dgm:spPr/>
      <dgm:t>
        <a:bodyPr/>
        <a:lstStyle/>
        <a:p>
          <a:endParaRPr lang="en-US" sz="2800"/>
        </a:p>
      </dgm:t>
    </dgm:pt>
    <dgm:pt modelId="{6575F9A6-F307-4761-953F-D01EB9024B3C}">
      <dgm:prSet custT="1"/>
      <dgm:spPr/>
      <dgm:t>
        <a:bodyPr/>
        <a:lstStyle/>
        <a:p>
          <a:r>
            <a:rPr lang="en-US" sz="2800" baseline="0" dirty="0"/>
            <a:t>Encrypt (‘123-45-6789’) = 0x17cfd50a</a:t>
          </a:r>
          <a:endParaRPr lang="en-US" sz="2800" dirty="0"/>
        </a:p>
      </dgm:t>
    </dgm:pt>
    <dgm:pt modelId="{4AC58AD8-BD03-4B13-962C-A0B629E5B1CA}" type="parTrans" cxnId="{79BE3009-0684-4571-A964-B73467A2870F}">
      <dgm:prSet/>
      <dgm:spPr/>
      <dgm:t>
        <a:bodyPr/>
        <a:lstStyle/>
        <a:p>
          <a:endParaRPr lang="en-US" sz="2800"/>
        </a:p>
      </dgm:t>
    </dgm:pt>
    <dgm:pt modelId="{EC951130-7635-4D42-AF0B-E732C4BE7E6E}" type="sibTrans" cxnId="{79BE3009-0684-4571-A964-B73467A2870F}">
      <dgm:prSet/>
      <dgm:spPr/>
      <dgm:t>
        <a:bodyPr/>
        <a:lstStyle/>
        <a:p>
          <a:endParaRPr lang="en-US" sz="2800"/>
        </a:p>
      </dgm:t>
    </dgm:pt>
    <dgm:pt modelId="{DD98F0F4-0686-4A84-847C-21DCA3543595}">
      <dgm:prSet custT="1"/>
      <dgm:spPr/>
      <dgm:t>
        <a:bodyPr/>
        <a:lstStyle/>
        <a:p>
          <a:r>
            <a:rPr lang="en-US" sz="2800" baseline="0" dirty="0"/>
            <a:t>Repeat: Encrypt (‘123-45-6789’) = 0x17cfd50a</a:t>
          </a:r>
          <a:endParaRPr lang="en-US" sz="2800" dirty="0"/>
        </a:p>
      </dgm:t>
    </dgm:pt>
    <dgm:pt modelId="{C616EE99-E45D-40F7-A4DE-373CE6EDA976}" type="parTrans" cxnId="{97EA1200-CA42-4CF3-BC98-3DA480D45998}">
      <dgm:prSet/>
      <dgm:spPr/>
      <dgm:t>
        <a:bodyPr/>
        <a:lstStyle/>
        <a:p>
          <a:endParaRPr lang="en-US" sz="2800"/>
        </a:p>
      </dgm:t>
    </dgm:pt>
    <dgm:pt modelId="{039A8F74-FF99-4E1D-BA3F-1F37F5857B84}" type="sibTrans" cxnId="{97EA1200-CA42-4CF3-BC98-3DA480D45998}">
      <dgm:prSet/>
      <dgm:spPr/>
      <dgm:t>
        <a:bodyPr/>
        <a:lstStyle/>
        <a:p>
          <a:endParaRPr lang="en-US" sz="2800"/>
        </a:p>
      </dgm:t>
    </dgm:pt>
    <dgm:pt modelId="{20A88D8F-FE0C-4E0F-B121-ABA145EC7258}" type="pres">
      <dgm:prSet presAssocID="{D1652A35-7085-43EC-B9FA-3053B838E293}" presName="Name0" presStyleCnt="0">
        <dgm:presLayoutVars>
          <dgm:dir/>
          <dgm:animLvl val="lvl"/>
          <dgm:resizeHandles val="exact"/>
        </dgm:presLayoutVars>
      </dgm:prSet>
      <dgm:spPr/>
    </dgm:pt>
    <dgm:pt modelId="{80DE2781-5A32-4D35-B57D-1AA9B0B52160}" type="pres">
      <dgm:prSet presAssocID="{FFD0E221-8531-4B58-A677-8E6A155631ED}" presName="linNode" presStyleCnt="0"/>
      <dgm:spPr/>
    </dgm:pt>
    <dgm:pt modelId="{7DEA4895-6922-438E-872C-0271BF342164}" type="pres">
      <dgm:prSet presAssocID="{FFD0E221-8531-4B58-A677-8E6A155631ED}" presName="parTx" presStyleLbl="revTx" presStyleIdx="0" presStyleCnt="2">
        <dgm:presLayoutVars>
          <dgm:chMax val="1"/>
          <dgm:bulletEnabled val="1"/>
        </dgm:presLayoutVars>
      </dgm:prSet>
      <dgm:spPr/>
    </dgm:pt>
    <dgm:pt modelId="{EA84DBCB-411A-489A-8BFF-1C659C6DADF3}" type="pres">
      <dgm:prSet presAssocID="{FFD0E221-8531-4B58-A677-8E6A155631ED}" presName="bracket" presStyleLbl="parChTrans1D1" presStyleIdx="0" presStyleCnt="2"/>
      <dgm:spPr/>
    </dgm:pt>
    <dgm:pt modelId="{927FACB1-187D-4B1C-B634-901F9D6C8A23}" type="pres">
      <dgm:prSet presAssocID="{FFD0E221-8531-4B58-A677-8E6A155631ED}" presName="spH" presStyleCnt="0"/>
      <dgm:spPr/>
    </dgm:pt>
    <dgm:pt modelId="{53D9BE4E-E4D6-424E-9F61-C8B937AD3192}" type="pres">
      <dgm:prSet presAssocID="{FFD0E221-8531-4B58-A677-8E6A155631ED}" presName="desTx" presStyleLbl="node1" presStyleIdx="0" presStyleCnt="2">
        <dgm:presLayoutVars>
          <dgm:bulletEnabled val="1"/>
        </dgm:presLayoutVars>
      </dgm:prSet>
      <dgm:spPr/>
    </dgm:pt>
    <dgm:pt modelId="{2F50031E-9FC0-4F3C-916A-E0DAF3231FAF}" type="pres">
      <dgm:prSet presAssocID="{2937ACE3-3BFE-47B1-8E57-3CEB27448AF3}" presName="spV" presStyleCnt="0"/>
      <dgm:spPr/>
    </dgm:pt>
    <dgm:pt modelId="{8FAC40A3-0300-48A6-AA0F-EC853532ED43}" type="pres">
      <dgm:prSet presAssocID="{B30E3783-91C7-4A8A-8F85-A728FBC28991}" presName="linNode" presStyleCnt="0"/>
      <dgm:spPr/>
    </dgm:pt>
    <dgm:pt modelId="{A2E71D03-E925-49C5-9F53-45DBEB8DC6F8}" type="pres">
      <dgm:prSet presAssocID="{B30E3783-91C7-4A8A-8F85-A728FBC28991}" presName="parTx" presStyleLbl="revTx" presStyleIdx="1" presStyleCnt="2">
        <dgm:presLayoutVars>
          <dgm:chMax val="1"/>
          <dgm:bulletEnabled val="1"/>
        </dgm:presLayoutVars>
      </dgm:prSet>
      <dgm:spPr/>
    </dgm:pt>
    <dgm:pt modelId="{B04C8C7A-2CD6-4840-8A28-C625F7CBF6E1}" type="pres">
      <dgm:prSet presAssocID="{B30E3783-91C7-4A8A-8F85-A728FBC28991}" presName="bracket" presStyleLbl="parChTrans1D1" presStyleIdx="1" presStyleCnt="2"/>
      <dgm:spPr/>
    </dgm:pt>
    <dgm:pt modelId="{5C16706A-06DF-4743-8507-E8C61BFCA220}" type="pres">
      <dgm:prSet presAssocID="{B30E3783-91C7-4A8A-8F85-A728FBC28991}" presName="spH" presStyleCnt="0"/>
      <dgm:spPr/>
    </dgm:pt>
    <dgm:pt modelId="{6D317EF0-CD9D-4942-9CDC-F01CEDD46E3A}" type="pres">
      <dgm:prSet presAssocID="{B30E3783-91C7-4A8A-8F85-A728FBC28991}" presName="desTx" presStyleLbl="node1" presStyleIdx="1" presStyleCnt="2">
        <dgm:presLayoutVars>
          <dgm:bulletEnabled val="1"/>
        </dgm:presLayoutVars>
      </dgm:prSet>
      <dgm:spPr/>
    </dgm:pt>
  </dgm:ptLst>
  <dgm:cxnLst>
    <dgm:cxn modelId="{97EA1200-CA42-4CF3-BC98-3DA480D45998}" srcId="{B30E3783-91C7-4A8A-8F85-A728FBC28991}" destId="{DD98F0F4-0686-4A84-847C-21DCA3543595}" srcOrd="1" destOrd="0" parTransId="{C616EE99-E45D-40F7-A4DE-373CE6EDA976}" sibTransId="{039A8F74-FF99-4E1D-BA3F-1F37F5857B84}"/>
    <dgm:cxn modelId="{79BE3009-0684-4571-A964-B73467A2870F}" srcId="{B30E3783-91C7-4A8A-8F85-A728FBC28991}" destId="{6575F9A6-F307-4761-953F-D01EB9024B3C}" srcOrd="0" destOrd="0" parTransId="{4AC58AD8-BD03-4B13-962C-A0B629E5B1CA}" sibTransId="{EC951130-7635-4D42-AF0B-E732C4BE7E6E}"/>
    <dgm:cxn modelId="{6A43A416-BDEC-4104-BB93-33FECB550036}" srcId="{FFD0E221-8531-4B58-A677-8E6A155631ED}" destId="{E74EE592-79D5-435E-9001-76298CF81DF6}" srcOrd="1" destOrd="0" parTransId="{56C5A02A-C5E5-409D-91A9-87D9C7B9C67C}" sibTransId="{13336CDD-5FBB-4B99-9AB9-CE31D59FD658}"/>
    <dgm:cxn modelId="{DF22C21D-F489-4AD4-BE24-234E1FC0E8FC}" srcId="{D1652A35-7085-43EC-B9FA-3053B838E293}" destId="{FFD0E221-8531-4B58-A677-8E6A155631ED}" srcOrd="0" destOrd="0" parTransId="{A888ED6F-22A5-4CD6-92C6-DDAD4BD4B4A7}" sibTransId="{2937ACE3-3BFE-47B1-8E57-3CEB27448AF3}"/>
    <dgm:cxn modelId="{B62AD020-14DA-4C6F-B4D4-5193604C5F97}" srcId="{FFD0E221-8531-4B58-A677-8E6A155631ED}" destId="{1BA853AA-C0E7-4582-97FF-940AADFFDB68}" srcOrd="0" destOrd="0" parTransId="{F537B3A0-F0CE-43F9-A208-054169D95E07}" sibTransId="{43739201-CFC9-41FD-AC2B-70EECB16A299}"/>
    <dgm:cxn modelId="{23377521-8EDF-48A6-8D3F-A3BBF680F5EE}" type="presOf" srcId="{FFD0E221-8531-4B58-A677-8E6A155631ED}" destId="{7DEA4895-6922-438E-872C-0271BF342164}" srcOrd="0" destOrd="0" presId="urn:diagrams.loki3.com/BracketList"/>
    <dgm:cxn modelId="{71E35A29-2070-4CD0-AE09-53752AA415FE}" type="presOf" srcId="{1BA853AA-C0E7-4582-97FF-940AADFFDB68}" destId="{53D9BE4E-E4D6-424E-9F61-C8B937AD3192}" srcOrd="0" destOrd="0" presId="urn:diagrams.loki3.com/BracketList"/>
    <dgm:cxn modelId="{6959183D-23FA-420E-82E1-B27F3BCEADDD}" type="presOf" srcId="{E74EE592-79D5-435E-9001-76298CF81DF6}" destId="{53D9BE4E-E4D6-424E-9F61-C8B937AD3192}" srcOrd="0" destOrd="1" presId="urn:diagrams.loki3.com/BracketList"/>
    <dgm:cxn modelId="{6C23945B-B3E1-4976-A814-3EE1457FB8FF}" type="presOf" srcId="{DD98F0F4-0686-4A84-847C-21DCA3543595}" destId="{6D317EF0-CD9D-4942-9CDC-F01CEDD46E3A}" srcOrd="0" destOrd="1" presId="urn:diagrams.loki3.com/BracketList"/>
    <dgm:cxn modelId="{82D7536D-055E-4EDE-9CF6-4909B3A5B3E8}" type="presOf" srcId="{6575F9A6-F307-4761-953F-D01EB9024B3C}" destId="{6D317EF0-CD9D-4942-9CDC-F01CEDD46E3A}" srcOrd="0" destOrd="0" presId="urn:diagrams.loki3.com/BracketList"/>
    <dgm:cxn modelId="{F05FB774-29EE-4F82-8703-86423F7F3C9D}" type="presOf" srcId="{D1652A35-7085-43EC-B9FA-3053B838E293}" destId="{20A88D8F-FE0C-4E0F-B121-ABA145EC7258}" srcOrd="0" destOrd="0" presId="urn:diagrams.loki3.com/BracketList"/>
    <dgm:cxn modelId="{DCED2B94-3707-46CD-8631-97C6BEE38583}" type="presOf" srcId="{B30E3783-91C7-4A8A-8F85-A728FBC28991}" destId="{A2E71D03-E925-49C5-9F53-45DBEB8DC6F8}" srcOrd="0" destOrd="0" presId="urn:diagrams.loki3.com/BracketList"/>
    <dgm:cxn modelId="{7ED681B7-034B-49EC-A962-2A64F8C73B37}" srcId="{D1652A35-7085-43EC-B9FA-3053B838E293}" destId="{B30E3783-91C7-4A8A-8F85-A728FBC28991}" srcOrd="1" destOrd="0" parTransId="{94FE3C12-EBBC-43A9-AC5A-D0C62C867321}" sibTransId="{AABC8376-4A9F-4742-B1B5-07DC00D183B5}"/>
    <dgm:cxn modelId="{8F19E875-16EE-464D-A2CB-193A6C3FFB70}" type="presParOf" srcId="{20A88D8F-FE0C-4E0F-B121-ABA145EC7258}" destId="{80DE2781-5A32-4D35-B57D-1AA9B0B52160}" srcOrd="0" destOrd="0" presId="urn:diagrams.loki3.com/BracketList"/>
    <dgm:cxn modelId="{43AB2252-2B26-4E8F-8001-3C9C3AD2CB7A}" type="presParOf" srcId="{80DE2781-5A32-4D35-B57D-1AA9B0B52160}" destId="{7DEA4895-6922-438E-872C-0271BF342164}" srcOrd="0" destOrd="0" presId="urn:diagrams.loki3.com/BracketList"/>
    <dgm:cxn modelId="{22C5C615-CE5A-424D-8E5E-6AF13B86FCDD}" type="presParOf" srcId="{80DE2781-5A32-4D35-B57D-1AA9B0B52160}" destId="{EA84DBCB-411A-489A-8BFF-1C659C6DADF3}" srcOrd="1" destOrd="0" presId="urn:diagrams.loki3.com/BracketList"/>
    <dgm:cxn modelId="{BB60A88A-BA29-4EC3-82CD-DC734DD813C9}" type="presParOf" srcId="{80DE2781-5A32-4D35-B57D-1AA9B0B52160}" destId="{927FACB1-187D-4B1C-B634-901F9D6C8A23}" srcOrd="2" destOrd="0" presId="urn:diagrams.loki3.com/BracketList"/>
    <dgm:cxn modelId="{1C1F57A3-04B7-46A7-A60E-CCE8B333155D}" type="presParOf" srcId="{80DE2781-5A32-4D35-B57D-1AA9B0B52160}" destId="{53D9BE4E-E4D6-424E-9F61-C8B937AD3192}" srcOrd="3" destOrd="0" presId="urn:diagrams.loki3.com/BracketList"/>
    <dgm:cxn modelId="{BC76A649-EDE6-449E-97A3-48EF426A7790}" type="presParOf" srcId="{20A88D8F-FE0C-4E0F-B121-ABA145EC7258}" destId="{2F50031E-9FC0-4F3C-916A-E0DAF3231FAF}" srcOrd="1" destOrd="0" presId="urn:diagrams.loki3.com/BracketList"/>
    <dgm:cxn modelId="{5F03EE99-F0F1-403E-8D23-719A6B4FBA5C}" type="presParOf" srcId="{20A88D8F-FE0C-4E0F-B121-ABA145EC7258}" destId="{8FAC40A3-0300-48A6-AA0F-EC853532ED43}" srcOrd="2" destOrd="0" presId="urn:diagrams.loki3.com/BracketList"/>
    <dgm:cxn modelId="{08F8970B-93BC-4026-AB55-1E0A63601E31}" type="presParOf" srcId="{8FAC40A3-0300-48A6-AA0F-EC853532ED43}" destId="{A2E71D03-E925-49C5-9F53-45DBEB8DC6F8}" srcOrd="0" destOrd="0" presId="urn:diagrams.loki3.com/BracketList"/>
    <dgm:cxn modelId="{4FDC6DE3-1A82-4CA0-8BFC-43BE282FBE46}" type="presParOf" srcId="{8FAC40A3-0300-48A6-AA0F-EC853532ED43}" destId="{B04C8C7A-2CD6-4840-8A28-C625F7CBF6E1}" srcOrd="1" destOrd="0" presId="urn:diagrams.loki3.com/BracketList"/>
    <dgm:cxn modelId="{9835F940-EBF8-4668-8C9C-CD790A1CD60E}" type="presParOf" srcId="{8FAC40A3-0300-48A6-AA0F-EC853532ED43}" destId="{5C16706A-06DF-4743-8507-E8C61BFCA220}" srcOrd="2" destOrd="0" presId="urn:diagrams.loki3.com/BracketList"/>
    <dgm:cxn modelId="{A0BC66CA-7FC9-4D2F-83BA-47673BB3A06C}" type="presParOf" srcId="{8FAC40A3-0300-48A6-AA0F-EC853532ED43}" destId="{6D317EF0-CD9D-4942-9CDC-F01CEDD46E3A}"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8ABFEC8-0C42-49BE-963D-E4C2874E069A}"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D35DBA4-3CB2-445A-81FB-D867F3DFB60A}">
      <dgm:prSet/>
      <dgm:spPr/>
      <dgm:t>
        <a:bodyPr/>
        <a:lstStyle/>
        <a:p>
          <a:r>
            <a:rPr lang="en-US" dirty="0"/>
            <a:t>Always Encrypted uses the AEAD_AES_256_CBC_HMAC_SHA_256 algorithm to encrypt data in the database</a:t>
          </a:r>
        </a:p>
      </dgm:t>
    </dgm:pt>
    <dgm:pt modelId="{0B7F6E64-394A-43AA-AD6D-35EFF0A1FDAE}" type="parTrans" cxnId="{3C611331-0D02-495E-9B11-C801058AFAB2}">
      <dgm:prSet/>
      <dgm:spPr/>
      <dgm:t>
        <a:bodyPr/>
        <a:lstStyle/>
        <a:p>
          <a:endParaRPr lang="en-US"/>
        </a:p>
      </dgm:t>
    </dgm:pt>
    <dgm:pt modelId="{368131C9-0E47-4EE8-B8B7-408CC6697835}" type="sibTrans" cxnId="{3C611331-0D02-495E-9B11-C801058AFAB2}">
      <dgm:prSet/>
      <dgm:spPr/>
      <dgm:t>
        <a:bodyPr/>
        <a:lstStyle/>
        <a:p>
          <a:endParaRPr lang="en-US"/>
        </a:p>
      </dgm:t>
    </dgm:pt>
    <dgm:pt modelId="{5F0814B2-8EBD-4814-A9FD-CC1DB02D5AB7}">
      <dgm:prSet/>
      <dgm:spPr/>
      <dgm:t>
        <a:bodyPr/>
        <a:lstStyle/>
        <a:p>
          <a:r>
            <a:rPr lang="en-US"/>
            <a:t>Ciphertext length varies depends on the data type</a:t>
          </a:r>
        </a:p>
      </dgm:t>
    </dgm:pt>
    <dgm:pt modelId="{3EC4052D-8859-4A99-98B0-76AE4A8E9164}" type="parTrans" cxnId="{C0928C3E-E956-4335-BEE1-24A4F8680185}">
      <dgm:prSet/>
      <dgm:spPr/>
      <dgm:t>
        <a:bodyPr/>
        <a:lstStyle/>
        <a:p>
          <a:endParaRPr lang="en-US"/>
        </a:p>
      </dgm:t>
    </dgm:pt>
    <dgm:pt modelId="{A43E0F15-82B4-4A67-902E-4295089746D4}" type="sibTrans" cxnId="{C0928C3E-E956-4335-BEE1-24A4F8680185}">
      <dgm:prSet/>
      <dgm:spPr/>
      <dgm:t>
        <a:bodyPr/>
        <a:lstStyle/>
        <a:p>
          <a:endParaRPr lang="en-US"/>
        </a:p>
      </dgm:t>
    </dgm:pt>
    <dgm:pt modelId="{A62F99DE-E280-4049-B1D9-D94CB6043948}" type="pres">
      <dgm:prSet presAssocID="{88ABFEC8-0C42-49BE-963D-E4C2874E069A}" presName="root" presStyleCnt="0">
        <dgm:presLayoutVars>
          <dgm:dir/>
          <dgm:resizeHandles val="exact"/>
        </dgm:presLayoutVars>
      </dgm:prSet>
      <dgm:spPr/>
    </dgm:pt>
    <dgm:pt modelId="{98B23A79-F89E-4F24-977C-E79B37D9D2D4}" type="pres">
      <dgm:prSet presAssocID="{BD35DBA4-3CB2-445A-81FB-D867F3DFB60A}" presName="compNode" presStyleCnt="0"/>
      <dgm:spPr/>
    </dgm:pt>
    <dgm:pt modelId="{4C2C2FCE-6EB0-4C96-9930-D72458DCB76A}" type="pres">
      <dgm:prSet presAssocID="{BD35DBA4-3CB2-445A-81FB-D867F3DFB60A}" presName="bgRect" presStyleLbl="bgShp" presStyleIdx="0" presStyleCnt="2"/>
      <dgm:spPr/>
    </dgm:pt>
    <dgm:pt modelId="{28345DF1-9FC5-4EB6-9C02-2374998C02EE}" type="pres">
      <dgm:prSet presAssocID="{BD35DBA4-3CB2-445A-81FB-D867F3DFB60A}"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rocessor"/>
        </a:ext>
      </dgm:extLst>
    </dgm:pt>
    <dgm:pt modelId="{EEB965A8-12AA-4820-AE33-BB4441A84553}" type="pres">
      <dgm:prSet presAssocID="{BD35DBA4-3CB2-445A-81FB-D867F3DFB60A}" presName="spaceRect" presStyleCnt="0"/>
      <dgm:spPr/>
    </dgm:pt>
    <dgm:pt modelId="{7DFF30FE-D08C-429E-8E22-88F9C16AF1F5}" type="pres">
      <dgm:prSet presAssocID="{BD35DBA4-3CB2-445A-81FB-D867F3DFB60A}" presName="parTx" presStyleLbl="revTx" presStyleIdx="0" presStyleCnt="2">
        <dgm:presLayoutVars>
          <dgm:chMax val="0"/>
          <dgm:chPref val="0"/>
        </dgm:presLayoutVars>
      </dgm:prSet>
      <dgm:spPr/>
    </dgm:pt>
    <dgm:pt modelId="{16D50EAB-A345-42C9-9181-05E09EA04A27}" type="pres">
      <dgm:prSet presAssocID="{368131C9-0E47-4EE8-B8B7-408CC6697835}" presName="sibTrans" presStyleCnt="0"/>
      <dgm:spPr/>
    </dgm:pt>
    <dgm:pt modelId="{29B12FF4-93E5-48DD-8924-4EFF04A00D0D}" type="pres">
      <dgm:prSet presAssocID="{5F0814B2-8EBD-4814-A9FD-CC1DB02D5AB7}" presName="compNode" presStyleCnt="0"/>
      <dgm:spPr/>
    </dgm:pt>
    <dgm:pt modelId="{71278F28-C4D9-4153-B891-9C8C5B8BADC2}" type="pres">
      <dgm:prSet presAssocID="{5F0814B2-8EBD-4814-A9FD-CC1DB02D5AB7}" presName="bgRect" presStyleLbl="bgShp" presStyleIdx="1" presStyleCnt="2"/>
      <dgm:spPr/>
    </dgm:pt>
    <dgm:pt modelId="{3CC87A88-551E-4272-B70E-F9752AD1B432}" type="pres">
      <dgm:prSet presAssocID="{5F0814B2-8EBD-4814-A9FD-CC1DB02D5AB7}"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Ruler"/>
        </a:ext>
      </dgm:extLst>
    </dgm:pt>
    <dgm:pt modelId="{D0B14C47-64C7-4B63-AF64-2C6CEE331034}" type="pres">
      <dgm:prSet presAssocID="{5F0814B2-8EBD-4814-A9FD-CC1DB02D5AB7}" presName="spaceRect" presStyleCnt="0"/>
      <dgm:spPr/>
    </dgm:pt>
    <dgm:pt modelId="{0585D174-F583-42FD-8618-84136D49E6EE}" type="pres">
      <dgm:prSet presAssocID="{5F0814B2-8EBD-4814-A9FD-CC1DB02D5AB7}" presName="parTx" presStyleLbl="revTx" presStyleIdx="1" presStyleCnt="2">
        <dgm:presLayoutVars>
          <dgm:chMax val="0"/>
          <dgm:chPref val="0"/>
        </dgm:presLayoutVars>
      </dgm:prSet>
      <dgm:spPr/>
    </dgm:pt>
  </dgm:ptLst>
  <dgm:cxnLst>
    <dgm:cxn modelId="{CBF76C1E-38E5-4CBA-A835-C4796209DD08}" type="presOf" srcId="{5F0814B2-8EBD-4814-A9FD-CC1DB02D5AB7}" destId="{0585D174-F583-42FD-8618-84136D49E6EE}" srcOrd="0" destOrd="0" presId="urn:microsoft.com/office/officeart/2018/2/layout/IconVerticalSolidList"/>
    <dgm:cxn modelId="{19F06B23-CA2B-4F17-AE9C-1D2A3A8C3C01}" type="presOf" srcId="{BD35DBA4-3CB2-445A-81FB-D867F3DFB60A}" destId="{7DFF30FE-D08C-429E-8E22-88F9C16AF1F5}" srcOrd="0" destOrd="0" presId="urn:microsoft.com/office/officeart/2018/2/layout/IconVerticalSolidList"/>
    <dgm:cxn modelId="{8C2B7225-5034-45A0-8260-8B777F37333A}" type="presOf" srcId="{88ABFEC8-0C42-49BE-963D-E4C2874E069A}" destId="{A62F99DE-E280-4049-B1D9-D94CB6043948}" srcOrd="0" destOrd="0" presId="urn:microsoft.com/office/officeart/2018/2/layout/IconVerticalSolidList"/>
    <dgm:cxn modelId="{3C611331-0D02-495E-9B11-C801058AFAB2}" srcId="{88ABFEC8-0C42-49BE-963D-E4C2874E069A}" destId="{BD35DBA4-3CB2-445A-81FB-D867F3DFB60A}" srcOrd="0" destOrd="0" parTransId="{0B7F6E64-394A-43AA-AD6D-35EFF0A1FDAE}" sibTransId="{368131C9-0E47-4EE8-B8B7-408CC6697835}"/>
    <dgm:cxn modelId="{C0928C3E-E956-4335-BEE1-24A4F8680185}" srcId="{88ABFEC8-0C42-49BE-963D-E4C2874E069A}" destId="{5F0814B2-8EBD-4814-A9FD-CC1DB02D5AB7}" srcOrd="1" destOrd="0" parTransId="{3EC4052D-8859-4A99-98B0-76AE4A8E9164}" sibTransId="{A43E0F15-82B4-4A67-902E-4295089746D4}"/>
    <dgm:cxn modelId="{DA696A37-08D4-4840-A53A-8E118470D5CC}" type="presParOf" srcId="{A62F99DE-E280-4049-B1D9-D94CB6043948}" destId="{98B23A79-F89E-4F24-977C-E79B37D9D2D4}" srcOrd="0" destOrd="0" presId="urn:microsoft.com/office/officeart/2018/2/layout/IconVerticalSolidList"/>
    <dgm:cxn modelId="{1139D22B-5FD8-4693-894E-063D703BEDD5}" type="presParOf" srcId="{98B23A79-F89E-4F24-977C-E79B37D9D2D4}" destId="{4C2C2FCE-6EB0-4C96-9930-D72458DCB76A}" srcOrd="0" destOrd="0" presId="urn:microsoft.com/office/officeart/2018/2/layout/IconVerticalSolidList"/>
    <dgm:cxn modelId="{C8793667-41A3-4AEF-9EAE-8A4F868DA7FD}" type="presParOf" srcId="{98B23A79-F89E-4F24-977C-E79B37D9D2D4}" destId="{28345DF1-9FC5-4EB6-9C02-2374998C02EE}" srcOrd="1" destOrd="0" presId="urn:microsoft.com/office/officeart/2018/2/layout/IconVerticalSolidList"/>
    <dgm:cxn modelId="{CB9629D3-26CD-4D02-9093-0A6A5363D98C}" type="presParOf" srcId="{98B23A79-F89E-4F24-977C-E79B37D9D2D4}" destId="{EEB965A8-12AA-4820-AE33-BB4441A84553}" srcOrd="2" destOrd="0" presId="urn:microsoft.com/office/officeart/2018/2/layout/IconVerticalSolidList"/>
    <dgm:cxn modelId="{B41056AB-AC83-4477-B3D8-53365ACD1DEC}" type="presParOf" srcId="{98B23A79-F89E-4F24-977C-E79B37D9D2D4}" destId="{7DFF30FE-D08C-429E-8E22-88F9C16AF1F5}" srcOrd="3" destOrd="0" presId="urn:microsoft.com/office/officeart/2018/2/layout/IconVerticalSolidList"/>
    <dgm:cxn modelId="{19E12A1B-1740-4504-8C9F-0CD280F7D43A}" type="presParOf" srcId="{A62F99DE-E280-4049-B1D9-D94CB6043948}" destId="{16D50EAB-A345-42C9-9181-05E09EA04A27}" srcOrd="1" destOrd="0" presId="urn:microsoft.com/office/officeart/2018/2/layout/IconVerticalSolidList"/>
    <dgm:cxn modelId="{0760DB86-073C-4737-A840-1B6B2A8AFB47}" type="presParOf" srcId="{A62F99DE-E280-4049-B1D9-D94CB6043948}" destId="{29B12FF4-93E5-48DD-8924-4EFF04A00D0D}" srcOrd="2" destOrd="0" presId="urn:microsoft.com/office/officeart/2018/2/layout/IconVerticalSolidList"/>
    <dgm:cxn modelId="{42FE62F3-5A9A-4224-A223-42FBA03A5011}" type="presParOf" srcId="{29B12FF4-93E5-48DD-8924-4EFF04A00D0D}" destId="{71278F28-C4D9-4153-B891-9C8C5B8BADC2}" srcOrd="0" destOrd="0" presId="urn:microsoft.com/office/officeart/2018/2/layout/IconVerticalSolidList"/>
    <dgm:cxn modelId="{9EF98D8A-3C4A-4417-A908-6FF8388A0690}" type="presParOf" srcId="{29B12FF4-93E5-48DD-8924-4EFF04A00D0D}" destId="{3CC87A88-551E-4272-B70E-F9752AD1B432}" srcOrd="1" destOrd="0" presId="urn:microsoft.com/office/officeart/2018/2/layout/IconVerticalSolidList"/>
    <dgm:cxn modelId="{609BB6C1-C2AE-40AC-93E4-F2023DFD26AE}" type="presParOf" srcId="{29B12FF4-93E5-48DD-8924-4EFF04A00D0D}" destId="{D0B14C47-64C7-4B63-AF64-2C6CEE331034}" srcOrd="2" destOrd="0" presId="urn:microsoft.com/office/officeart/2018/2/layout/IconVerticalSolidList"/>
    <dgm:cxn modelId="{31D438D0-0895-45B3-882A-663A38914BFC}" type="presParOf" srcId="{29B12FF4-93E5-48DD-8924-4EFF04A00D0D}" destId="{0585D174-F583-42FD-8618-84136D49E6E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3A681D5-277D-432E-BD5F-4DD9C717E9AC}" type="doc">
      <dgm:prSet loTypeId="urn:microsoft.com/office/officeart/2005/8/layout/list1" loCatId="list" qsTypeId="urn:microsoft.com/office/officeart/2005/8/quickstyle/simple2" qsCatId="simple" csTypeId="urn:microsoft.com/office/officeart/2005/8/colors/colorful2" csCatId="colorful" phldr="1"/>
      <dgm:spPr/>
      <dgm:t>
        <a:bodyPr/>
        <a:lstStyle/>
        <a:p>
          <a:endParaRPr lang="en-US"/>
        </a:p>
      </dgm:t>
    </dgm:pt>
    <dgm:pt modelId="{077A23AF-FAD7-4793-851B-97EB9C415D3A}">
      <dgm:prSet custT="1"/>
      <dgm:spPr/>
      <dgm:t>
        <a:bodyPr/>
        <a:lstStyle/>
        <a:p>
          <a:r>
            <a:rPr lang="en-US" sz="2400" baseline="0" dirty="0"/>
            <a:t>Not supported when columns use any of these datatypes</a:t>
          </a:r>
          <a:endParaRPr lang="en-US" sz="2400" dirty="0"/>
        </a:p>
      </dgm:t>
    </dgm:pt>
    <dgm:pt modelId="{289ED411-C1C4-48D9-B2A9-50AC65800B3F}" type="parTrans" cxnId="{9414A81D-44F8-425C-8CE2-82BC65CBA7E1}">
      <dgm:prSet/>
      <dgm:spPr/>
      <dgm:t>
        <a:bodyPr/>
        <a:lstStyle/>
        <a:p>
          <a:endParaRPr lang="en-US"/>
        </a:p>
      </dgm:t>
    </dgm:pt>
    <dgm:pt modelId="{EEBF26C1-F9A3-43E3-B6E4-A0DB4C19B8BC}" type="sibTrans" cxnId="{9414A81D-44F8-425C-8CE2-82BC65CBA7E1}">
      <dgm:prSet/>
      <dgm:spPr/>
      <dgm:t>
        <a:bodyPr/>
        <a:lstStyle/>
        <a:p>
          <a:endParaRPr lang="en-US"/>
        </a:p>
      </dgm:t>
    </dgm:pt>
    <dgm:pt modelId="{6DB4EEF3-0284-40A0-B8E6-737A68325D68}">
      <dgm:prSet/>
      <dgm:spPr/>
      <dgm:t>
        <a:bodyPr/>
        <a:lstStyle/>
        <a:p>
          <a:r>
            <a:rPr lang="en-US" baseline="0"/>
            <a:t>xml, </a:t>
          </a:r>
          <a:r>
            <a:rPr lang="en-US" baseline="0" err="1"/>
            <a:t>hierarchyid</a:t>
          </a:r>
          <a:r>
            <a:rPr lang="en-US" baseline="0"/>
            <a:t>, </a:t>
          </a:r>
          <a:r>
            <a:rPr lang="en-US" baseline="0" err="1"/>
            <a:t>rowversion</a:t>
          </a:r>
          <a:r>
            <a:rPr lang="en-US" baseline="0"/>
            <a:t>, image, text, </a:t>
          </a:r>
          <a:r>
            <a:rPr lang="en-US" baseline="0" err="1"/>
            <a:t>ntext</a:t>
          </a:r>
          <a:r>
            <a:rPr lang="en-US" baseline="0"/>
            <a:t>, geography, geometry, user-defined types, or </a:t>
          </a:r>
          <a:r>
            <a:rPr lang="en-US" baseline="0" err="1"/>
            <a:t>sql_variant</a:t>
          </a:r>
          <a:endParaRPr lang="en-US"/>
        </a:p>
      </dgm:t>
    </dgm:pt>
    <dgm:pt modelId="{F3F3C8E3-E055-484A-AE37-3E8992641CF6}" type="parTrans" cxnId="{CD700AAC-3BE4-4C47-A6FC-88496C3078F2}">
      <dgm:prSet/>
      <dgm:spPr/>
      <dgm:t>
        <a:bodyPr/>
        <a:lstStyle/>
        <a:p>
          <a:endParaRPr lang="en-US"/>
        </a:p>
      </dgm:t>
    </dgm:pt>
    <dgm:pt modelId="{09B4EBDF-3C60-4E26-9E85-07DC923C89DD}" type="sibTrans" cxnId="{CD700AAC-3BE4-4C47-A6FC-88496C3078F2}">
      <dgm:prSet/>
      <dgm:spPr/>
      <dgm:t>
        <a:bodyPr/>
        <a:lstStyle/>
        <a:p>
          <a:endParaRPr lang="en-US"/>
        </a:p>
      </dgm:t>
    </dgm:pt>
    <dgm:pt modelId="{17248034-9509-4FF8-8B7A-FC75575A053C}">
      <dgm:prSet custT="1"/>
      <dgm:spPr/>
      <dgm:t>
        <a:bodyPr/>
        <a:lstStyle/>
        <a:p>
          <a:r>
            <a:rPr lang="en-US" sz="2400" baseline="0"/>
            <a:t>Clauses that cannot be used for encrypted columns</a:t>
          </a:r>
          <a:endParaRPr lang="en-US" sz="2400"/>
        </a:p>
      </dgm:t>
    </dgm:pt>
    <dgm:pt modelId="{8F9F28AD-3DB5-49B2-83F5-624EA0F2ACA2}" type="parTrans" cxnId="{8549E402-37DA-4DD1-8965-86BA5F3F7412}">
      <dgm:prSet/>
      <dgm:spPr/>
      <dgm:t>
        <a:bodyPr/>
        <a:lstStyle/>
        <a:p>
          <a:endParaRPr lang="en-US"/>
        </a:p>
      </dgm:t>
    </dgm:pt>
    <dgm:pt modelId="{07CE1204-7426-45C6-ACE8-7BC958D6C0E7}" type="sibTrans" cxnId="{8549E402-37DA-4DD1-8965-86BA5F3F7412}">
      <dgm:prSet/>
      <dgm:spPr/>
      <dgm:t>
        <a:bodyPr/>
        <a:lstStyle/>
        <a:p>
          <a:endParaRPr lang="en-US"/>
        </a:p>
      </dgm:t>
    </dgm:pt>
    <dgm:pt modelId="{8D2455FA-0CA3-42CA-A38F-E449E727EB3B}">
      <dgm:prSet/>
      <dgm:spPr/>
      <dgm:t>
        <a:bodyPr/>
        <a:lstStyle/>
        <a:p>
          <a:r>
            <a:rPr lang="en-US" baseline="0"/>
            <a:t>FOR XML </a:t>
          </a:r>
          <a:endParaRPr lang="en-US"/>
        </a:p>
      </dgm:t>
    </dgm:pt>
    <dgm:pt modelId="{278A5EA5-84E5-43E5-B514-4476D4298625}" type="parTrans" cxnId="{130166F8-8810-4920-92E2-05CEDA8C7AD0}">
      <dgm:prSet/>
      <dgm:spPr/>
      <dgm:t>
        <a:bodyPr/>
        <a:lstStyle/>
        <a:p>
          <a:endParaRPr lang="en-US"/>
        </a:p>
      </dgm:t>
    </dgm:pt>
    <dgm:pt modelId="{07CCC88B-5E72-4E43-B004-3EF7A74F3C60}" type="sibTrans" cxnId="{130166F8-8810-4920-92E2-05CEDA8C7AD0}">
      <dgm:prSet/>
      <dgm:spPr/>
      <dgm:t>
        <a:bodyPr/>
        <a:lstStyle/>
        <a:p>
          <a:endParaRPr lang="en-US"/>
        </a:p>
      </dgm:t>
    </dgm:pt>
    <dgm:pt modelId="{908E69F7-26F2-447F-989B-9855929FB999}">
      <dgm:prSet/>
      <dgm:spPr/>
      <dgm:t>
        <a:bodyPr/>
        <a:lstStyle/>
        <a:p>
          <a:r>
            <a:rPr lang="en-US" baseline="0"/>
            <a:t>FOR JSON PATH</a:t>
          </a:r>
          <a:endParaRPr lang="en-US"/>
        </a:p>
      </dgm:t>
    </dgm:pt>
    <dgm:pt modelId="{66522969-E2D4-47EC-8D6A-38F1ABE7BD7F}" type="parTrans" cxnId="{89BEDE24-36B1-4633-803D-9E374E48F923}">
      <dgm:prSet/>
      <dgm:spPr/>
      <dgm:t>
        <a:bodyPr/>
        <a:lstStyle/>
        <a:p>
          <a:endParaRPr lang="en-US"/>
        </a:p>
      </dgm:t>
    </dgm:pt>
    <dgm:pt modelId="{CDBDCCD2-66A0-4E3B-BAE8-B905C2B09531}" type="sibTrans" cxnId="{89BEDE24-36B1-4633-803D-9E374E48F923}">
      <dgm:prSet/>
      <dgm:spPr/>
      <dgm:t>
        <a:bodyPr/>
        <a:lstStyle/>
        <a:p>
          <a:endParaRPr lang="en-US"/>
        </a:p>
      </dgm:t>
    </dgm:pt>
    <dgm:pt modelId="{1D0F2424-C519-4405-9A5C-0654860083BD}">
      <dgm:prSet custT="1"/>
      <dgm:spPr/>
      <dgm:t>
        <a:bodyPr/>
        <a:lstStyle/>
        <a:p>
          <a:r>
            <a:rPr lang="en-US" sz="2400" baseline="0"/>
            <a:t>Features that do not work on encrypted columns</a:t>
          </a:r>
          <a:endParaRPr lang="en-US" sz="2400"/>
        </a:p>
      </dgm:t>
    </dgm:pt>
    <dgm:pt modelId="{9B16CC24-0271-4086-B6C8-82EE13BE7EFC}" type="parTrans" cxnId="{10A6D6FD-2E9A-47EF-9235-C7508EF8F410}">
      <dgm:prSet/>
      <dgm:spPr/>
      <dgm:t>
        <a:bodyPr/>
        <a:lstStyle/>
        <a:p>
          <a:endParaRPr lang="en-US"/>
        </a:p>
      </dgm:t>
    </dgm:pt>
    <dgm:pt modelId="{A973D43B-3150-45C9-AD52-68D4F51E4019}" type="sibTrans" cxnId="{10A6D6FD-2E9A-47EF-9235-C7508EF8F410}">
      <dgm:prSet/>
      <dgm:spPr/>
      <dgm:t>
        <a:bodyPr/>
        <a:lstStyle/>
        <a:p>
          <a:endParaRPr lang="en-US"/>
        </a:p>
      </dgm:t>
    </dgm:pt>
    <dgm:pt modelId="{554EC4BC-B4F7-4A7F-92EA-B42BF139C4EB}">
      <dgm:prSet/>
      <dgm:spPr/>
      <dgm:t>
        <a:bodyPr/>
        <a:lstStyle/>
        <a:p>
          <a:r>
            <a:rPr lang="en-US" baseline="0"/>
            <a:t>Transactional or merge replication</a:t>
          </a:r>
          <a:endParaRPr lang="en-US"/>
        </a:p>
      </dgm:t>
    </dgm:pt>
    <dgm:pt modelId="{BF86B438-85FF-4C68-AE40-573E0155F868}" type="parTrans" cxnId="{25E7F1D9-29E8-4A0E-B978-C6ACDDFF800A}">
      <dgm:prSet/>
      <dgm:spPr/>
      <dgm:t>
        <a:bodyPr/>
        <a:lstStyle/>
        <a:p>
          <a:endParaRPr lang="en-US"/>
        </a:p>
      </dgm:t>
    </dgm:pt>
    <dgm:pt modelId="{AB07D818-AFCE-4482-9BB8-139D2DB2A1EB}" type="sibTrans" cxnId="{25E7F1D9-29E8-4A0E-B978-C6ACDDFF800A}">
      <dgm:prSet/>
      <dgm:spPr/>
      <dgm:t>
        <a:bodyPr/>
        <a:lstStyle/>
        <a:p>
          <a:endParaRPr lang="en-US"/>
        </a:p>
      </dgm:t>
    </dgm:pt>
    <dgm:pt modelId="{133D90AF-6E78-48A8-B545-1794371BEAF7}">
      <dgm:prSet/>
      <dgm:spPr/>
      <dgm:t>
        <a:bodyPr/>
        <a:lstStyle/>
        <a:p>
          <a:r>
            <a:rPr lang="en-US" baseline="0"/>
            <a:t>Distributed queries (linked servers)</a:t>
          </a:r>
          <a:endParaRPr lang="en-US"/>
        </a:p>
      </dgm:t>
    </dgm:pt>
    <dgm:pt modelId="{5A19B590-FF3F-419F-B64C-90B99DAC1BCD}" type="parTrans" cxnId="{9AD30B2D-5289-472C-98BA-37C19D67C0C9}">
      <dgm:prSet/>
      <dgm:spPr/>
      <dgm:t>
        <a:bodyPr/>
        <a:lstStyle/>
        <a:p>
          <a:endParaRPr lang="en-US"/>
        </a:p>
      </dgm:t>
    </dgm:pt>
    <dgm:pt modelId="{EEB5D132-E0F0-4B93-869C-EF8B2504D084}" type="sibTrans" cxnId="{9AD30B2D-5289-472C-98BA-37C19D67C0C9}">
      <dgm:prSet/>
      <dgm:spPr/>
      <dgm:t>
        <a:bodyPr/>
        <a:lstStyle/>
        <a:p>
          <a:endParaRPr lang="en-US"/>
        </a:p>
      </dgm:t>
    </dgm:pt>
    <dgm:pt modelId="{02544E90-BD9B-419B-B49F-22CD681FBB20}" type="pres">
      <dgm:prSet presAssocID="{D3A681D5-277D-432E-BD5F-4DD9C717E9AC}" presName="linear" presStyleCnt="0">
        <dgm:presLayoutVars>
          <dgm:dir/>
          <dgm:animLvl val="lvl"/>
          <dgm:resizeHandles val="exact"/>
        </dgm:presLayoutVars>
      </dgm:prSet>
      <dgm:spPr/>
    </dgm:pt>
    <dgm:pt modelId="{02693264-DB29-4E4E-BA15-90A36407CD9D}" type="pres">
      <dgm:prSet presAssocID="{077A23AF-FAD7-4793-851B-97EB9C415D3A}" presName="parentLin" presStyleCnt="0"/>
      <dgm:spPr/>
    </dgm:pt>
    <dgm:pt modelId="{83C36D48-9C36-4ADB-811F-9050F91E6C1B}" type="pres">
      <dgm:prSet presAssocID="{077A23AF-FAD7-4793-851B-97EB9C415D3A}" presName="parentLeftMargin" presStyleLbl="node1" presStyleIdx="0" presStyleCnt="3"/>
      <dgm:spPr/>
    </dgm:pt>
    <dgm:pt modelId="{6306CD7C-63CF-43E8-9741-0106DEE891DF}" type="pres">
      <dgm:prSet presAssocID="{077A23AF-FAD7-4793-851B-97EB9C415D3A}" presName="parentText" presStyleLbl="node1" presStyleIdx="0" presStyleCnt="3" custScaleX="124615">
        <dgm:presLayoutVars>
          <dgm:chMax val="0"/>
          <dgm:bulletEnabled val="1"/>
        </dgm:presLayoutVars>
      </dgm:prSet>
      <dgm:spPr/>
    </dgm:pt>
    <dgm:pt modelId="{CAD38B22-8E36-4D49-818E-A8D1FE79A6E4}" type="pres">
      <dgm:prSet presAssocID="{077A23AF-FAD7-4793-851B-97EB9C415D3A}" presName="negativeSpace" presStyleCnt="0"/>
      <dgm:spPr/>
    </dgm:pt>
    <dgm:pt modelId="{A1A3035E-4550-4E1B-98D0-6711C3578068}" type="pres">
      <dgm:prSet presAssocID="{077A23AF-FAD7-4793-851B-97EB9C415D3A}" presName="childText" presStyleLbl="conFgAcc1" presStyleIdx="0" presStyleCnt="3">
        <dgm:presLayoutVars>
          <dgm:bulletEnabled val="1"/>
        </dgm:presLayoutVars>
      </dgm:prSet>
      <dgm:spPr/>
    </dgm:pt>
    <dgm:pt modelId="{93FAC7CC-F51B-4309-8125-40FEA5766291}" type="pres">
      <dgm:prSet presAssocID="{EEBF26C1-F9A3-43E3-B6E4-A0DB4C19B8BC}" presName="spaceBetweenRectangles" presStyleCnt="0"/>
      <dgm:spPr/>
    </dgm:pt>
    <dgm:pt modelId="{CCC49A79-6876-4756-969B-1F81E1D4B24E}" type="pres">
      <dgm:prSet presAssocID="{17248034-9509-4FF8-8B7A-FC75575A053C}" presName="parentLin" presStyleCnt="0"/>
      <dgm:spPr/>
    </dgm:pt>
    <dgm:pt modelId="{666DA8C0-F891-4E53-A783-55E340D0C1AD}" type="pres">
      <dgm:prSet presAssocID="{17248034-9509-4FF8-8B7A-FC75575A053C}" presName="parentLeftMargin" presStyleLbl="node1" presStyleIdx="0" presStyleCnt="3"/>
      <dgm:spPr/>
    </dgm:pt>
    <dgm:pt modelId="{50EA6DEA-6355-49F2-8CDB-32F5F1EF41ED}" type="pres">
      <dgm:prSet presAssocID="{17248034-9509-4FF8-8B7A-FC75575A053C}" presName="parentText" presStyleLbl="node1" presStyleIdx="1" presStyleCnt="3" custScaleX="124615">
        <dgm:presLayoutVars>
          <dgm:chMax val="0"/>
          <dgm:bulletEnabled val="1"/>
        </dgm:presLayoutVars>
      </dgm:prSet>
      <dgm:spPr/>
    </dgm:pt>
    <dgm:pt modelId="{C450FA41-CC09-4002-B541-3915A3C4DDFB}" type="pres">
      <dgm:prSet presAssocID="{17248034-9509-4FF8-8B7A-FC75575A053C}" presName="negativeSpace" presStyleCnt="0"/>
      <dgm:spPr/>
    </dgm:pt>
    <dgm:pt modelId="{073BB653-6F43-4241-8F25-A2353636968E}" type="pres">
      <dgm:prSet presAssocID="{17248034-9509-4FF8-8B7A-FC75575A053C}" presName="childText" presStyleLbl="conFgAcc1" presStyleIdx="1" presStyleCnt="3">
        <dgm:presLayoutVars>
          <dgm:bulletEnabled val="1"/>
        </dgm:presLayoutVars>
      </dgm:prSet>
      <dgm:spPr/>
    </dgm:pt>
    <dgm:pt modelId="{CC0FD651-2595-4F32-B76D-1410EF237FF8}" type="pres">
      <dgm:prSet presAssocID="{07CE1204-7426-45C6-ACE8-7BC958D6C0E7}" presName="spaceBetweenRectangles" presStyleCnt="0"/>
      <dgm:spPr/>
    </dgm:pt>
    <dgm:pt modelId="{B72B6474-A941-4C5E-AAB8-CC5EFAA99B84}" type="pres">
      <dgm:prSet presAssocID="{1D0F2424-C519-4405-9A5C-0654860083BD}" presName="parentLin" presStyleCnt="0"/>
      <dgm:spPr/>
    </dgm:pt>
    <dgm:pt modelId="{75577A72-497A-4175-8E37-3B4ECC6F929C}" type="pres">
      <dgm:prSet presAssocID="{1D0F2424-C519-4405-9A5C-0654860083BD}" presName="parentLeftMargin" presStyleLbl="node1" presStyleIdx="1" presStyleCnt="3"/>
      <dgm:spPr/>
    </dgm:pt>
    <dgm:pt modelId="{EFFD6812-716D-4A5D-9322-6B28E7DFD5B4}" type="pres">
      <dgm:prSet presAssocID="{1D0F2424-C519-4405-9A5C-0654860083BD}" presName="parentText" presStyleLbl="node1" presStyleIdx="2" presStyleCnt="3" custScaleX="124615">
        <dgm:presLayoutVars>
          <dgm:chMax val="0"/>
          <dgm:bulletEnabled val="1"/>
        </dgm:presLayoutVars>
      </dgm:prSet>
      <dgm:spPr/>
    </dgm:pt>
    <dgm:pt modelId="{B79BB613-C59B-4923-98F7-2DAE76118094}" type="pres">
      <dgm:prSet presAssocID="{1D0F2424-C519-4405-9A5C-0654860083BD}" presName="negativeSpace" presStyleCnt="0"/>
      <dgm:spPr/>
    </dgm:pt>
    <dgm:pt modelId="{6EB5E983-7483-4768-827A-AE2B79CD8BAA}" type="pres">
      <dgm:prSet presAssocID="{1D0F2424-C519-4405-9A5C-0654860083BD}" presName="childText" presStyleLbl="conFgAcc1" presStyleIdx="2" presStyleCnt="3">
        <dgm:presLayoutVars>
          <dgm:bulletEnabled val="1"/>
        </dgm:presLayoutVars>
      </dgm:prSet>
      <dgm:spPr/>
    </dgm:pt>
  </dgm:ptLst>
  <dgm:cxnLst>
    <dgm:cxn modelId="{8549E402-37DA-4DD1-8965-86BA5F3F7412}" srcId="{D3A681D5-277D-432E-BD5F-4DD9C717E9AC}" destId="{17248034-9509-4FF8-8B7A-FC75575A053C}" srcOrd="1" destOrd="0" parTransId="{8F9F28AD-3DB5-49B2-83F5-624EA0F2ACA2}" sibTransId="{07CE1204-7426-45C6-ACE8-7BC958D6C0E7}"/>
    <dgm:cxn modelId="{4C521410-B060-448B-8EF8-AF9AC6CDA818}" type="presOf" srcId="{908E69F7-26F2-447F-989B-9855929FB999}" destId="{073BB653-6F43-4241-8F25-A2353636968E}" srcOrd="0" destOrd="1" presId="urn:microsoft.com/office/officeart/2005/8/layout/list1"/>
    <dgm:cxn modelId="{7879A514-0E00-49F5-9905-DC2F1614BADD}" type="presOf" srcId="{133D90AF-6E78-48A8-B545-1794371BEAF7}" destId="{6EB5E983-7483-4768-827A-AE2B79CD8BAA}" srcOrd="0" destOrd="1" presId="urn:microsoft.com/office/officeart/2005/8/layout/list1"/>
    <dgm:cxn modelId="{66CE3E1B-34E3-4ED7-AB23-473F6571584E}" type="presOf" srcId="{077A23AF-FAD7-4793-851B-97EB9C415D3A}" destId="{83C36D48-9C36-4ADB-811F-9050F91E6C1B}" srcOrd="0" destOrd="0" presId="urn:microsoft.com/office/officeart/2005/8/layout/list1"/>
    <dgm:cxn modelId="{9414A81D-44F8-425C-8CE2-82BC65CBA7E1}" srcId="{D3A681D5-277D-432E-BD5F-4DD9C717E9AC}" destId="{077A23AF-FAD7-4793-851B-97EB9C415D3A}" srcOrd="0" destOrd="0" parTransId="{289ED411-C1C4-48D9-B2A9-50AC65800B3F}" sibTransId="{EEBF26C1-F9A3-43E3-B6E4-A0DB4C19B8BC}"/>
    <dgm:cxn modelId="{89BEDE24-36B1-4633-803D-9E374E48F923}" srcId="{17248034-9509-4FF8-8B7A-FC75575A053C}" destId="{908E69F7-26F2-447F-989B-9855929FB999}" srcOrd="1" destOrd="0" parTransId="{66522969-E2D4-47EC-8D6A-38F1ABE7BD7F}" sibTransId="{CDBDCCD2-66A0-4E3B-BAE8-B905C2B09531}"/>
    <dgm:cxn modelId="{9AD30B2D-5289-472C-98BA-37C19D67C0C9}" srcId="{1D0F2424-C519-4405-9A5C-0654860083BD}" destId="{133D90AF-6E78-48A8-B545-1794371BEAF7}" srcOrd="1" destOrd="0" parTransId="{5A19B590-FF3F-419F-B64C-90B99DAC1BCD}" sibTransId="{EEB5D132-E0F0-4B93-869C-EF8B2504D084}"/>
    <dgm:cxn modelId="{AB04E134-D444-4648-A3DC-5C496DE2FC55}" type="presOf" srcId="{1D0F2424-C519-4405-9A5C-0654860083BD}" destId="{EFFD6812-716D-4A5D-9322-6B28E7DFD5B4}" srcOrd="1" destOrd="0" presId="urn:microsoft.com/office/officeart/2005/8/layout/list1"/>
    <dgm:cxn modelId="{955DA339-4A7F-4CD6-8B9B-B76F5B0A4575}" type="presOf" srcId="{17248034-9509-4FF8-8B7A-FC75575A053C}" destId="{50EA6DEA-6355-49F2-8CDB-32F5F1EF41ED}" srcOrd="1" destOrd="0" presId="urn:microsoft.com/office/officeart/2005/8/layout/list1"/>
    <dgm:cxn modelId="{309C4444-0F75-4663-B74A-03FF5CE97030}" type="presOf" srcId="{17248034-9509-4FF8-8B7A-FC75575A053C}" destId="{666DA8C0-F891-4E53-A783-55E340D0C1AD}" srcOrd="0" destOrd="0" presId="urn:microsoft.com/office/officeart/2005/8/layout/list1"/>
    <dgm:cxn modelId="{CD1FE47F-A093-4C37-9FA9-2F55EE697427}" type="presOf" srcId="{077A23AF-FAD7-4793-851B-97EB9C415D3A}" destId="{6306CD7C-63CF-43E8-9741-0106DEE891DF}" srcOrd="1" destOrd="0" presId="urn:microsoft.com/office/officeart/2005/8/layout/list1"/>
    <dgm:cxn modelId="{5C312B83-222D-416D-9020-EBBEB316EE71}" type="presOf" srcId="{6DB4EEF3-0284-40A0-B8E6-737A68325D68}" destId="{A1A3035E-4550-4E1B-98D0-6711C3578068}" srcOrd="0" destOrd="0" presId="urn:microsoft.com/office/officeart/2005/8/layout/list1"/>
    <dgm:cxn modelId="{918A3A8D-FDFC-4D47-9C81-1F2CC24410FA}" type="presOf" srcId="{8D2455FA-0CA3-42CA-A38F-E449E727EB3B}" destId="{073BB653-6F43-4241-8F25-A2353636968E}" srcOrd="0" destOrd="0" presId="urn:microsoft.com/office/officeart/2005/8/layout/list1"/>
    <dgm:cxn modelId="{CD700AAC-3BE4-4C47-A6FC-88496C3078F2}" srcId="{077A23AF-FAD7-4793-851B-97EB9C415D3A}" destId="{6DB4EEF3-0284-40A0-B8E6-737A68325D68}" srcOrd="0" destOrd="0" parTransId="{F3F3C8E3-E055-484A-AE37-3E8992641CF6}" sibTransId="{09B4EBDF-3C60-4E26-9E85-07DC923C89DD}"/>
    <dgm:cxn modelId="{25E7F1D9-29E8-4A0E-B978-C6ACDDFF800A}" srcId="{1D0F2424-C519-4405-9A5C-0654860083BD}" destId="{554EC4BC-B4F7-4A7F-92EA-B42BF139C4EB}" srcOrd="0" destOrd="0" parTransId="{BF86B438-85FF-4C68-AE40-573E0155F868}" sibTransId="{AB07D818-AFCE-4482-9BB8-139D2DB2A1EB}"/>
    <dgm:cxn modelId="{E431B3E0-BD62-4FF2-BA71-46E4715C6151}" type="presOf" srcId="{D3A681D5-277D-432E-BD5F-4DD9C717E9AC}" destId="{02544E90-BD9B-419B-B49F-22CD681FBB20}" srcOrd="0" destOrd="0" presId="urn:microsoft.com/office/officeart/2005/8/layout/list1"/>
    <dgm:cxn modelId="{349C5AEA-C87A-49C2-B69B-A76C2DBE6B43}" type="presOf" srcId="{1D0F2424-C519-4405-9A5C-0654860083BD}" destId="{75577A72-497A-4175-8E37-3B4ECC6F929C}" srcOrd="0" destOrd="0" presId="urn:microsoft.com/office/officeart/2005/8/layout/list1"/>
    <dgm:cxn modelId="{431A08EB-A831-4893-A353-C7FEA168CF09}" type="presOf" srcId="{554EC4BC-B4F7-4A7F-92EA-B42BF139C4EB}" destId="{6EB5E983-7483-4768-827A-AE2B79CD8BAA}" srcOrd="0" destOrd="0" presId="urn:microsoft.com/office/officeart/2005/8/layout/list1"/>
    <dgm:cxn modelId="{130166F8-8810-4920-92E2-05CEDA8C7AD0}" srcId="{17248034-9509-4FF8-8B7A-FC75575A053C}" destId="{8D2455FA-0CA3-42CA-A38F-E449E727EB3B}" srcOrd="0" destOrd="0" parTransId="{278A5EA5-84E5-43E5-B514-4476D4298625}" sibTransId="{07CCC88B-5E72-4E43-B004-3EF7A74F3C60}"/>
    <dgm:cxn modelId="{10A6D6FD-2E9A-47EF-9235-C7508EF8F410}" srcId="{D3A681D5-277D-432E-BD5F-4DD9C717E9AC}" destId="{1D0F2424-C519-4405-9A5C-0654860083BD}" srcOrd="2" destOrd="0" parTransId="{9B16CC24-0271-4086-B6C8-82EE13BE7EFC}" sibTransId="{A973D43B-3150-45C9-AD52-68D4F51E4019}"/>
    <dgm:cxn modelId="{61C2B13C-1EA2-4A10-B0CD-1814A1B7F2A3}" type="presParOf" srcId="{02544E90-BD9B-419B-B49F-22CD681FBB20}" destId="{02693264-DB29-4E4E-BA15-90A36407CD9D}" srcOrd="0" destOrd="0" presId="urn:microsoft.com/office/officeart/2005/8/layout/list1"/>
    <dgm:cxn modelId="{9B371C13-F190-4E7C-981E-D79CEFA1D674}" type="presParOf" srcId="{02693264-DB29-4E4E-BA15-90A36407CD9D}" destId="{83C36D48-9C36-4ADB-811F-9050F91E6C1B}" srcOrd="0" destOrd="0" presId="urn:microsoft.com/office/officeart/2005/8/layout/list1"/>
    <dgm:cxn modelId="{3B0D8015-D184-4C25-8585-CB3B8D116ADB}" type="presParOf" srcId="{02693264-DB29-4E4E-BA15-90A36407CD9D}" destId="{6306CD7C-63CF-43E8-9741-0106DEE891DF}" srcOrd="1" destOrd="0" presId="urn:microsoft.com/office/officeart/2005/8/layout/list1"/>
    <dgm:cxn modelId="{9CA1D0A5-5B50-4A73-91F1-45D5E5395980}" type="presParOf" srcId="{02544E90-BD9B-419B-B49F-22CD681FBB20}" destId="{CAD38B22-8E36-4D49-818E-A8D1FE79A6E4}" srcOrd="1" destOrd="0" presId="urn:microsoft.com/office/officeart/2005/8/layout/list1"/>
    <dgm:cxn modelId="{3F3119F6-49B1-42C3-9B63-1BE2D2BA261F}" type="presParOf" srcId="{02544E90-BD9B-419B-B49F-22CD681FBB20}" destId="{A1A3035E-4550-4E1B-98D0-6711C3578068}" srcOrd="2" destOrd="0" presId="urn:microsoft.com/office/officeart/2005/8/layout/list1"/>
    <dgm:cxn modelId="{13B63091-A786-484A-9A62-344FC9B5FCAF}" type="presParOf" srcId="{02544E90-BD9B-419B-B49F-22CD681FBB20}" destId="{93FAC7CC-F51B-4309-8125-40FEA5766291}" srcOrd="3" destOrd="0" presId="urn:microsoft.com/office/officeart/2005/8/layout/list1"/>
    <dgm:cxn modelId="{1723FF61-7E08-49A3-B8EC-6DB858B02175}" type="presParOf" srcId="{02544E90-BD9B-419B-B49F-22CD681FBB20}" destId="{CCC49A79-6876-4756-969B-1F81E1D4B24E}" srcOrd="4" destOrd="0" presId="urn:microsoft.com/office/officeart/2005/8/layout/list1"/>
    <dgm:cxn modelId="{80A35B0F-58F4-425C-B1D6-B980B88A5BBD}" type="presParOf" srcId="{CCC49A79-6876-4756-969B-1F81E1D4B24E}" destId="{666DA8C0-F891-4E53-A783-55E340D0C1AD}" srcOrd="0" destOrd="0" presId="urn:microsoft.com/office/officeart/2005/8/layout/list1"/>
    <dgm:cxn modelId="{2DE46DB8-DE4E-4B9A-893E-4217C28718A5}" type="presParOf" srcId="{CCC49A79-6876-4756-969B-1F81E1D4B24E}" destId="{50EA6DEA-6355-49F2-8CDB-32F5F1EF41ED}" srcOrd="1" destOrd="0" presId="urn:microsoft.com/office/officeart/2005/8/layout/list1"/>
    <dgm:cxn modelId="{4C9815D2-BFAD-43C9-911D-A4798167A737}" type="presParOf" srcId="{02544E90-BD9B-419B-B49F-22CD681FBB20}" destId="{C450FA41-CC09-4002-B541-3915A3C4DDFB}" srcOrd="5" destOrd="0" presId="urn:microsoft.com/office/officeart/2005/8/layout/list1"/>
    <dgm:cxn modelId="{DF0EBCE1-A072-415F-9FB7-F049DA2F206E}" type="presParOf" srcId="{02544E90-BD9B-419B-B49F-22CD681FBB20}" destId="{073BB653-6F43-4241-8F25-A2353636968E}" srcOrd="6" destOrd="0" presId="urn:microsoft.com/office/officeart/2005/8/layout/list1"/>
    <dgm:cxn modelId="{0E142B5F-FD8B-46EB-A2B6-7937516333A1}" type="presParOf" srcId="{02544E90-BD9B-419B-B49F-22CD681FBB20}" destId="{CC0FD651-2595-4F32-B76D-1410EF237FF8}" srcOrd="7" destOrd="0" presId="urn:microsoft.com/office/officeart/2005/8/layout/list1"/>
    <dgm:cxn modelId="{39746EFB-707C-4445-B6AB-C5EB3E6A0744}" type="presParOf" srcId="{02544E90-BD9B-419B-B49F-22CD681FBB20}" destId="{B72B6474-A941-4C5E-AAB8-CC5EFAA99B84}" srcOrd="8" destOrd="0" presId="urn:microsoft.com/office/officeart/2005/8/layout/list1"/>
    <dgm:cxn modelId="{E6334CEA-CA2D-4FD7-943D-2823DD69012B}" type="presParOf" srcId="{B72B6474-A941-4C5E-AAB8-CC5EFAA99B84}" destId="{75577A72-497A-4175-8E37-3B4ECC6F929C}" srcOrd="0" destOrd="0" presId="urn:microsoft.com/office/officeart/2005/8/layout/list1"/>
    <dgm:cxn modelId="{4D8C70B1-ACCC-4CCF-B535-EC7BC377C8CA}" type="presParOf" srcId="{B72B6474-A941-4C5E-AAB8-CC5EFAA99B84}" destId="{EFFD6812-716D-4A5D-9322-6B28E7DFD5B4}" srcOrd="1" destOrd="0" presId="urn:microsoft.com/office/officeart/2005/8/layout/list1"/>
    <dgm:cxn modelId="{88F53EB9-3798-47FE-9992-B24819C7BB1A}" type="presParOf" srcId="{02544E90-BD9B-419B-B49F-22CD681FBB20}" destId="{B79BB613-C59B-4923-98F7-2DAE76118094}" srcOrd="9" destOrd="0" presId="urn:microsoft.com/office/officeart/2005/8/layout/list1"/>
    <dgm:cxn modelId="{04DF1292-1D9A-48BA-B478-61A5C79A5A48}" type="presParOf" srcId="{02544E90-BD9B-419B-B49F-22CD681FBB20}" destId="{6EB5E983-7483-4768-827A-AE2B79CD8BAA}"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86EB11C7-8E35-496E-8BBA-B5FE5C2DA876}" type="doc">
      <dgm:prSet loTypeId="urn:microsoft.com/office/officeart/2005/8/layout/vList5" loCatId="list" qsTypeId="urn:microsoft.com/office/officeart/2005/8/quickstyle/simple4" qsCatId="simple" csTypeId="urn:microsoft.com/office/officeart/2005/8/colors/colorful2" csCatId="colorful"/>
      <dgm:spPr/>
      <dgm:t>
        <a:bodyPr/>
        <a:lstStyle/>
        <a:p>
          <a:endParaRPr lang="en-US"/>
        </a:p>
      </dgm:t>
    </dgm:pt>
    <dgm:pt modelId="{06B0F420-A2DD-4C38-8943-E47A75976368}">
      <dgm:prSet custT="1"/>
      <dgm:spPr/>
      <dgm:t>
        <a:bodyPr/>
        <a:lstStyle/>
        <a:p>
          <a:r>
            <a:rPr lang="en-US" sz="2400" baseline="0" dirty="0"/>
            <a:t>ALTER ANY COLUMN MASTER KEY</a:t>
          </a:r>
          <a:endParaRPr lang="en-US" sz="2400" dirty="0"/>
        </a:p>
      </dgm:t>
    </dgm:pt>
    <dgm:pt modelId="{DDA18201-CAF4-4AF1-9209-D0B1EDB8C3BE}" type="parTrans" cxnId="{3FA7F744-0946-4746-A94D-B3B0F3AB4289}">
      <dgm:prSet/>
      <dgm:spPr/>
      <dgm:t>
        <a:bodyPr/>
        <a:lstStyle/>
        <a:p>
          <a:endParaRPr lang="en-US"/>
        </a:p>
      </dgm:t>
    </dgm:pt>
    <dgm:pt modelId="{48F85F08-174A-488C-AB7D-4915668FD800}" type="sibTrans" cxnId="{3FA7F744-0946-4746-A94D-B3B0F3AB4289}">
      <dgm:prSet/>
      <dgm:spPr/>
      <dgm:t>
        <a:bodyPr/>
        <a:lstStyle/>
        <a:p>
          <a:endParaRPr lang="en-US"/>
        </a:p>
      </dgm:t>
    </dgm:pt>
    <dgm:pt modelId="{AF473787-FF6F-4F72-9839-43660A59A09C}">
      <dgm:prSet/>
      <dgm:spPr/>
      <dgm:t>
        <a:bodyPr/>
        <a:lstStyle/>
        <a:p>
          <a:r>
            <a:rPr lang="en-US" baseline="0" dirty="0"/>
            <a:t>Required to create and delete a column master key</a:t>
          </a:r>
          <a:endParaRPr lang="en-US" dirty="0"/>
        </a:p>
      </dgm:t>
    </dgm:pt>
    <dgm:pt modelId="{6A5233CC-1BD0-4433-ADA5-5D775FD7C1E7}" type="parTrans" cxnId="{ECD4A899-397F-4711-8C58-57CEE1B39D61}">
      <dgm:prSet/>
      <dgm:spPr/>
      <dgm:t>
        <a:bodyPr/>
        <a:lstStyle/>
        <a:p>
          <a:endParaRPr lang="en-US"/>
        </a:p>
      </dgm:t>
    </dgm:pt>
    <dgm:pt modelId="{8F6108B0-452C-45D8-AF31-B83407C3FF89}" type="sibTrans" cxnId="{ECD4A899-397F-4711-8C58-57CEE1B39D61}">
      <dgm:prSet/>
      <dgm:spPr/>
      <dgm:t>
        <a:bodyPr/>
        <a:lstStyle/>
        <a:p>
          <a:endParaRPr lang="en-US"/>
        </a:p>
      </dgm:t>
    </dgm:pt>
    <dgm:pt modelId="{50502154-A5E1-4DBD-A991-9B8EA29740EA}">
      <dgm:prSet custT="1"/>
      <dgm:spPr/>
      <dgm:t>
        <a:bodyPr/>
        <a:lstStyle/>
        <a:p>
          <a:r>
            <a:rPr lang="en-US" sz="2400" baseline="0" dirty="0"/>
            <a:t>ALTER ANY COLUMN ENCRYPTION KEY</a:t>
          </a:r>
          <a:endParaRPr lang="en-US" sz="2400" dirty="0"/>
        </a:p>
      </dgm:t>
    </dgm:pt>
    <dgm:pt modelId="{869A65B5-9EC9-4232-B274-B3DF858FE7BD}" type="parTrans" cxnId="{E3F0A5DE-C131-48B3-A84A-720C8EB6BBF7}">
      <dgm:prSet/>
      <dgm:spPr/>
      <dgm:t>
        <a:bodyPr/>
        <a:lstStyle/>
        <a:p>
          <a:endParaRPr lang="en-US"/>
        </a:p>
      </dgm:t>
    </dgm:pt>
    <dgm:pt modelId="{8AA27E4D-6553-4855-A684-8AD02A6EDA60}" type="sibTrans" cxnId="{E3F0A5DE-C131-48B3-A84A-720C8EB6BBF7}">
      <dgm:prSet/>
      <dgm:spPr/>
      <dgm:t>
        <a:bodyPr/>
        <a:lstStyle/>
        <a:p>
          <a:endParaRPr lang="en-US"/>
        </a:p>
      </dgm:t>
    </dgm:pt>
    <dgm:pt modelId="{91CBAA29-C4D5-4131-9AD6-BB81C64C94C2}">
      <dgm:prSet/>
      <dgm:spPr/>
      <dgm:t>
        <a:bodyPr/>
        <a:lstStyle/>
        <a:p>
          <a:r>
            <a:rPr lang="en-US" baseline="0" dirty="0"/>
            <a:t>Required to create and delete a column encryption key</a:t>
          </a:r>
          <a:endParaRPr lang="en-US" dirty="0"/>
        </a:p>
      </dgm:t>
    </dgm:pt>
    <dgm:pt modelId="{CEB0771A-2ABC-49BC-BC10-202DF6E3ABEE}" type="parTrans" cxnId="{49A2F91E-18E9-4FE7-88C4-747FE56484B5}">
      <dgm:prSet/>
      <dgm:spPr/>
      <dgm:t>
        <a:bodyPr/>
        <a:lstStyle/>
        <a:p>
          <a:endParaRPr lang="en-US"/>
        </a:p>
      </dgm:t>
    </dgm:pt>
    <dgm:pt modelId="{1FA1ECB1-B593-42A6-9779-29DA75C5715A}" type="sibTrans" cxnId="{49A2F91E-18E9-4FE7-88C4-747FE56484B5}">
      <dgm:prSet/>
      <dgm:spPr/>
      <dgm:t>
        <a:bodyPr/>
        <a:lstStyle/>
        <a:p>
          <a:endParaRPr lang="en-US"/>
        </a:p>
      </dgm:t>
    </dgm:pt>
    <dgm:pt modelId="{0351816B-4445-4ED6-8358-58C4F9D56369}">
      <dgm:prSet custT="1"/>
      <dgm:spPr/>
      <dgm:t>
        <a:bodyPr/>
        <a:lstStyle/>
        <a:p>
          <a:r>
            <a:rPr lang="en-US" sz="2400" baseline="0"/>
            <a:t>VIEW ANY COLUMN MASTER KEY DEFINITION</a:t>
          </a:r>
          <a:endParaRPr lang="en-US" sz="2400"/>
        </a:p>
      </dgm:t>
    </dgm:pt>
    <dgm:pt modelId="{49920631-A023-4464-AE81-1EA2AB79969B}" type="parTrans" cxnId="{76AB99AB-AEC3-48EC-877C-0CBAEB8414E2}">
      <dgm:prSet/>
      <dgm:spPr/>
      <dgm:t>
        <a:bodyPr/>
        <a:lstStyle/>
        <a:p>
          <a:endParaRPr lang="en-US"/>
        </a:p>
      </dgm:t>
    </dgm:pt>
    <dgm:pt modelId="{3984B997-BC1B-4656-AAF5-5FFFDA037FA4}" type="sibTrans" cxnId="{76AB99AB-AEC3-48EC-877C-0CBAEB8414E2}">
      <dgm:prSet/>
      <dgm:spPr/>
      <dgm:t>
        <a:bodyPr/>
        <a:lstStyle/>
        <a:p>
          <a:endParaRPr lang="en-US"/>
        </a:p>
      </dgm:t>
    </dgm:pt>
    <dgm:pt modelId="{0103D768-D49E-4B64-B846-00CA7A27A949}">
      <dgm:prSet/>
      <dgm:spPr/>
      <dgm:t>
        <a:bodyPr/>
        <a:lstStyle/>
        <a:p>
          <a:r>
            <a:rPr lang="en-US" baseline="0"/>
            <a:t>Required to access and read column master key metadata objects while managing keys or querying encrypting columns</a:t>
          </a:r>
          <a:endParaRPr lang="en-US"/>
        </a:p>
      </dgm:t>
    </dgm:pt>
    <dgm:pt modelId="{7EB847A3-F0FA-49AE-98BE-8FBC80350AD6}" type="parTrans" cxnId="{9A5AC18F-AB3C-464A-9326-F0D095EE92E2}">
      <dgm:prSet/>
      <dgm:spPr/>
      <dgm:t>
        <a:bodyPr/>
        <a:lstStyle/>
        <a:p>
          <a:endParaRPr lang="en-US"/>
        </a:p>
      </dgm:t>
    </dgm:pt>
    <dgm:pt modelId="{B90E7C27-38CA-42AF-B0FD-2CF3364ED9B7}" type="sibTrans" cxnId="{9A5AC18F-AB3C-464A-9326-F0D095EE92E2}">
      <dgm:prSet/>
      <dgm:spPr/>
      <dgm:t>
        <a:bodyPr/>
        <a:lstStyle/>
        <a:p>
          <a:endParaRPr lang="en-US"/>
        </a:p>
      </dgm:t>
    </dgm:pt>
    <dgm:pt modelId="{9D1D5EB5-3C59-4A51-B899-2CB17227D2BD}">
      <dgm:prSet custT="1"/>
      <dgm:spPr/>
      <dgm:t>
        <a:bodyPr/>
        <a:lstStyle/>
        <a:p>
          <a:r>
            <a:rPr lang="en-US" sz="2400" baseline="0"/>
            <a:t>VIEW ANY COLUMN ENCRYTPION KEY DEFINITION</a:t>
          </a:r>
          <a:endParaRPr lang="en-US" sz="2400"/>
        </a:p>
      </dgm:t>
    </dgm:pt>
    <dgm:pt modelId="{F6896073-93BB-4389-9132-767514B9DC6D}" type="parTrans" cxnId="{0D0758D1-FED9-46B6-A320-E14A5A1D9FE7}">
      <dgm:prSet/>
      <dgm:spPr/>
      <dgm:t>
        <a:bodyPr/>
        <a:lstStyle/>
        <a:p>
          <a:endParaRPr lang="en-US"/>
        </a:p>
      </dgm:t>
    </dgm:pt>
    <dgm:pt modelId="{D6239BC5-D444-40FD-92C0-1A870093B22C}" type="sibTrans" cxnId="{0D0758D1-FED9-46B6-A320-E14A5A1D9FE7}">
      <dgm:prSet/>
      <dgm:spPr/>
      <dgm:t>
        <a:bodyPr/>
        <a:lstStyle/>
        <a:p>
          <a:endParaRPr lang="en-US"/>
        </a:p>
      </dgm:t>
    </dgm:pt>
    <dgm:pt modelId="{15165700-27F3-4178-B7C0-4A3E3C621784}">
      <dgm:prSet/>
      <dgm:spPr/>
      <dgm:t>
        <a:bodyPr/>
        <a:lstStyle/>
        <a:p>
          <a:r>
            <a:rPr lang="en-US" baseline="0"/>
            <a:t>Required to access and read column encryption key metadata objects while managing keys or querying encrypting columns </a:t>
          </a:r>
          <a:endParaRPr lang="en-US"/>
        </a:p>
      </dgm:t>
    </dgm:pt>
    <dgm:pt modelId="{28C6CD9F-A58D-4E1C-97C0-9D055167221D}" type="parTrans" cxnId="{E707E2DD-F884-4C32-A329-A52958BFBAF6}">
      <dgm:prSet/>
      <dgm:spPr/>
      <dgm:t>
        <a:bodyPr/>
        <a:lstStyle/>
        <a:p>
          <a:endParaRPr lang="en-US"/>
        </a:p>
      </dgm:t>
    </dgm:pt>
    <dgm:pt modelId="{EA021A21-C112-457D-A15F-0C21FAC11FCD}" type="sibTrans" cxnId="{E707E2DD-F884-4C32-A329-A52958BFBAF6}">
      <dgm:prSet/>
      <dgm:spPr/>
      <dgm:t>
        <a:bodyPr/>
        <a:lstStyle/>
        <a:p>
          <a:endParaRPr lang="en-US"/>
        </a:p>
      </dgm:t>
    </dgm:pt>
    <dgm:pt modelId="{4CBF3F3F-EE28-415D-BAF1-5F14DBFE9E16}" type="pres">
      <dgm:prSet presAssocID="{86EB11C7-8E35-496E-8BBA-B5FE5C2DA876}" presName="Name0" presStyleCnt="0">
        <dgm:presLayoutVars>
          <dgm:dir/>
          <dgm:animLvl val="lvl"/>
          <dgm:resizeHandles val="exact"/>
        </dgm:presLayoutVars>
      </dgm:prSet>
      <dgm:spPr/>
    </dgm:pt>
    <dgm:pt modelId="{5B43FF09-DF7A-446F-8C12-E060E16178C2}" type="pres">
      <dgm:prSet presAssocID="{06B0F420-A2DD-4C38-8943-E47A75976368}" presName="linNode" presStyleCnt="0"/>
      <dgm:spPr/>
    </dgm:pt>
    <dgm:pt modelId="{9FE36F5D-7248-4DA4-9FFD-76DB9C742BE5}" type="pres">
      <dgm:prSet presAssocID="{06B0F420-A2DD-4C38-8943-E47A75976368}" presName="parentText" presStyleLbl="node1" presStyleIdx="0" presStyleCnt="4">
        <dgm:presLayoutVars>
          <dgm:chMax val="1"/>
          <dgm:bulletEnabled val="1"/>
        </dgm:presLayoutVars>
      </dgm:prSet>
      <dgm:spPr/>
    </dgm:pt>
    <dgm:pt modelId="{E6BDFBD0-E69C-4C6D-B846-3035E9FF7151}" type="pres">
      <dgm:prSet presAssocID="{06B0F420-A2DD-4C38-8943-E47A75976368}" presName="descendantText" presStyleLbl="alignAccFollowNode1" presStyleIdx="0" presStyleCnt="4">
        <dgm:presLayoutVars>
          <dgm:bulletEnabled val="1"/>
        </dgm:presLayoutVars>
      </dgm:prSet>
      <dgm:spPr/>
    </dgm:pt>
    <dgm:pt modelId="{B0531734-C357-4E4E-8EE8-2E67400DF782}" type="pres">
      <dgm:prSet presAssocID="{48F85F08-174A-488C-AB7D-4915668FD800}" presName="sp" presStyleCnt="0"/>
      <dgm:spPr/>
    </dgm:pt>
    <dgm:pt modelId="{118A3CDC-C9B7-4635-AFA1-ECC47C9E122A}" type="pres">
      <dgm:prSet presAssocID="{50502154-A5E1-4DBD-A991-9B8EA29740EA}" presName="linNode" presStyleCnt="0"/>
      <dgm:spPr/>
    </dgm:pt>
    <dgm:pt modelId="{B7EBF281-5392-4475-844D-71D64DC3D19F}" type="pres">
      <dgm:prSet presAssocID="{50502154-A5E1-4DBD-A991-9B8EA29740EA}" presName="parentText" presStyleLbl="node1" presStyleIdx="1" presStyleCnt="4">
        <dgm:presLayoutVars>
          <dgm:chMax val="1"/>
          <dgm:bulletEnabled val="1"/>
        </dgm:presLayoutVars>
      </dgm:prSet>
      <dgm:spPr/>
    </dgm:pt>
    <dgm:pt modelId="{FC6462EE-C45D-4824-B63D-EA04FC820552}" type="pres">
      <dgm:prSet presAssocID="{50502154-A5E1-4DBD-A991-9B8EA29740EA}" presName="descendantText" presStyleLbl="alignAccFollowNode1" presStyleIdx="1" presStyleCnt="4">
        <dgm:presLayoutVars>
          <dgm:bulletEnabled val="1"/>
        </dgm:presLayoutVars>
      </dgm:prSet>
      <dgm:spPr/>
    </dgm:pt>
    <dgm:pt modelId="{B3D25547-367C-44D8-A835-2D3DA3E0FAF7}" type="pres">
      <dgm:prSet presAssocID="{8AA27E4D-6553-4855-A684-8AD02A6EDA60}" presName="sp" presStyleCnt="0"/>
      <dgm:spPr/>
    </dgm:pt>
    <dgm:pt modelId="{0F2B1859-E0DC-48C7-ADF1-B7DD0371F2C1}" type="pres">
      <dgm:prSet presAssocID="{0351816B-4445-4ED6-8358-58C4F9D56369}" presName="linNode" presStyleCnt="0"/>
      <dgm:spPr/>
    </dgm:pt>
    <dgm:pt modelId="{2D6EA379-A3E5-4313-89E0-DC29113E82EA}" type="pres">
      <dgm:prSet presAssocID="{0351816B-4445-4ED6-8358-58C4F9D56369}" presName="parentText" presStyleLbl="node1" presStyleIdx="2" presStyleCnt="4">
        <dgm:presLayoutVars>
          <dgm:chMax val="1"/>
          <dgm:bulletEnabled val="1"/>
        </dgm:presLayoutVars>
      </dgm:prSet>
      <dgm:spPr/>
    </dgm:pt>
    <dgm:pt modelId="{09D0FD38-A65F-49C4-BD83-F19917332BCD}" type="pres">
      <dgm:prSet presAssocID="{0351816B-4445-4ED6-8358-58C4F9D56369}" presName="descendantText" presStyleLbl="alignAccFollowNode1" presStyleIdx="2" presStyleCnt="4">
        <dgm:presLayoutVars>
          <dgm:bulletEnabled val="1"/>
        </dgm:presLayoutVars>
      </dgm:prSet>
      <dgm:spPr/>
    </dgm:pt>
    <dgm:pt modelId="{6F340F1A-1268-4321-9A26-41B63F97F42A}" type="pres">
      <dgm:prSet presAssocID="{3984B997-BC1B-4656-AAF5-5FFFDA037FA4}" presName="sp" presStyleCnt="0"/>
      <dgm:spPr/>
    </dgm:pt>
    <dgm:pt modelId="{8E2DED69-020D-4FBF-9071-63BBB4997B3C}" type="pres">
      <dgm:prSet presAssocID="{9D1D5EB5-3C59-4A51-B899-2CB17227D2BD}" presName="linNode" presStyleCnt="0"/>
      <dgm:spPr/>
    </dgm:pt>
    <dgm:pt modelId="{405ADB7C-6A42-4FDD-889B-5EE7722889B3}" type="pres">
      <dgm:prSet presAssocID="{9D1D5EB5-3C59-4A51-B899-2CB17227D2BD}" presName="parentText" presStyleLbl="node1" presStyleIdx="3" presStyleCnt="4">
        <dgm:presLayoutVars>
          <dgm:chMax val="1"/>
          <dgm:bulletEnabled val="1"/>
        </dgm:presLayoutVars>
      </dgm:prSet>
      <dgm:spPr/>
    </dgm:pt>
    <dgm:pt modelId="{0DFD7F48-434F-41F7-A8E8-F3DDEE4730E9}" type="pres">
      <dgm:prSet presAssocID="{9D1D5EB5-3C59-4A51-B899-2CB17227D2BD}" presName="descendantText" presStyleLbl="alignAccFollowNode1" presStyleIdx="3" presStyleCnt="4">
        <dgm:presLayoutVars>
          <dgm:bulletEnabled val="1"/>
        </dgm:presLayoutVars>
      </dgm:prSet>
      <dgm:spPr/>
    </dgm:pt>
  </dgm:ptLst>
  <dgm:cxnLst>
    <dgm:cxn modelId="{49A2F91E-18E9-4FE7-88C4-747FE56484B5}" srcId="{50502154-A5E1-4DBD-A991-9B8EA29740EA}" destId="{91CBAA29-C4D5-4131-9AD6-BB81C64C94C2}" srcOrd="0" destOrd="0" parTransId="{CEB0771A-2ABC-49BC-BC10-202DF6E3ABEE}" sibTransId="{1FA1ECB1-B593-42A6-9779-29DA75C5715A}"/>
    <dgm:cxn modelId="{0DB05E26-EBBE-4F99-8D7F-6B748676427A}" type="presOf" srcId="{0103D768-D49E-4B64-B846-00CA7A27A949}" destId="{09D0FD38-A65F-49C4-BD83-F19917332BCD}" srcOrd="0" destOrd="0" presId="urn:microsoft.com/office/officeart/2005/8/layout/vList5"/>
    <dgm:cxn modelId="{3FA7F744-0946-4746-A94D-B3B0F3AB4289}" srcId="{86EB11C7-8E35-496E-8BBA-B5FE5C2DA876}" destId="{06B0F420-A2DD-4C38-8943-E47A75976368}" srcOrd="0" destOrd="0" parTransId="{DDA18201-CAF4-4AF1-9209-D0B1EDB8C3BE}" sibTransId="{48F85F08-174A-488C-AB7D-4915668FD800}"/>
    <dgm:cxn modelId="{BA5DD065-9F8A-4FCA-A4A1-86D8720D733A}" type="presOf" srcId="{0351816B-4445-4ED6-8358-58C4F9D56369}" destId="{2D6EA379-A3E5-4313-89E0-DC29113E82EA}" srcOrd="0" destOrd="0" presId="urn:microsoft.com/office/officeart/2005/8/layout/vList5"/>
    <dgm:cxn modelId="{5BA2A64C-BA47-486B-B46D-CCBD25B25A34}" type="presOf" srcId="{9D1D5EB5-3C59-4A51-B899-2CB17227D2BD}" destId="{405ADB7C-6A42-4FDD-889B-5EE7722889B3}" srcOrd="0" destOrd="0" presId="urn:microsoft.com/office/officeart/2005/8/layout/vList5"/>
    <dgm:cxn modelId="{2C448852-7615-4E75-8CF0-537B6C6CF88A}" type="presOf" srcId="{86EB11C7-8E35-496E-8BBA-B5FE5C2DA876}" destId="{4CBF3F3F-EE28-415D-BAF1-5F14DBFE9E16}" srcOrd="0" destOrd="0" presId="urn:microsoft.com/office/officeart/2005/8/layout/vList5"/>
    <dgm:cxn modelId="{575AAE73-D035-4191-BDFA-E97D1B4B48F0}" type="presOf" srcId="{91CBAA29-C4D5-4131-9AD6-BB81C64C94C2}" destId="{FC6462EE-C45D-4824-B63D-EA04FC820552}" srcOrd="0" destOrd="0" presId="urn:microsoft.com/office/officeart/2005/8/layout/vList5"/>
    <dgm:cxn modelId="{176DBE89-0C35-4737-B034-2BDC3C88BBAD}" type="presOf" srcId="{50502154-A5E1-4DBD-A991-9B8EA29740EA}" destId="{B7EBF281-5392-4475-844D-71D64DC3D19F}" srcOrd="0" destOrd="0" presId="urn:microsoft.com/office/officeart/2005/8/layout/vList5"/>
    <dgm:cxn modelId="{44542C8B-0B1D-4935-864B-5BCCB4369561}" type="presOf" srcId="{06B0F420-A2DD-4C38-8943-E47A75976368}" destId="{9FE36F5D-7248-4DA4-9FFD-76DB9C742BE5}" srcOrd="0" destOrd="0" presId="urn:microsoft.com/office/officeart/2005/8/layout/vList5"/>
    <dgm:cxn modelId="{9A5AC18F-AB3C-464A-9326-F0D095EE92E2}" srcId="{0351816B-4445-4ED6-8358-58C4F9D56369}" destId="{0103D768-D49E-4B64-B846-00CA7A27A949}" srcOrd="0" destOrd="0" parTransId="{7EB847A3-F0FA-49AE-98BE-8FBC80350AD6}" sibTransId="{B90E7C27-38CA-42AF-B0FD-2CF3364ED9B7}"/>
    <dgm:cxn modelId="{ECD4A899-397F-4711-8C58-57CEE1B39D61}" srcId="{06B0F420-A2DD-4C38-8943-E47A75976368}" destId="{AF473787-FF6F-4F72-9839-43660A59A09C}" srcOrd="0" destOrd="0" parTransId="{6A5233CC-1BD0-4433-ADA5-5D775FD7C1E7}" sibTransId="{8F6108B0-452C-45D8-AF31-B83407C3FF89}"/>
    <dgm:cxn modelId="{76AB99AB-AEC3-48EC-877C-0CBAEB8414E2}" srcId="{86EB11C7-8E35-496E-8BBA-B5FE5C2DA876}" destId="{0351816B-4445-4ED6-8358-58C4F9D56369}" srcOrd="2" destOrd="0" parTransId="{49920631-A023-4464-AE81-1EA2AB79969B}" sibTransId="{3984B997-BC1B-4656-AAF5-5FFFDA037FA4}"/>
    <dgm:cxn modelId="{0D0758D1-FED9-46B6-A320-E14A5A1D9FE7}" srcId="{86EB11C7-8E35-496E-8BBA-B5FE5C2DA876}" destId="{9D1D5EB5-3C59-4A51-B899-2CB17227D2BD}" srcOrd="3" destOrd="0" parTransId="{F6896073-93BB-4389-9132-767514B9DC6D}" sibTransId="{D6239BC5-D444-40FD-92C0-1A870093B22C}"/>
    <dgm:cxn modelId="{E707E2DD-F884-4C32-A329-A52958BFBAF6}" srcId="{9D1D5EB5-3C59-4A51-B899-2CB17227D2BD}" destId="{15165700-27F3-4178-B7C0-4A3E3C621784}" srcOrd="0" destOrd="0" parTransId="{28C6CD9F-A58D-4E1C-97C0-9D055167221D}" sibTransId="{EA021A21-C112-457D-A15F-0C21FAC11FCD}"/>
    <dgm:cxn modelId="{E3F0A5DE-C131-48B3-A84A-720C8EB6BBF7}" srcId="{86EB11C7-8E35-496E-8BBA-B5FE5C2DA876}" destId="{50502154-A5E1-4DBD-A991-9B8EA29740EA}" srcOrd="1" destOrd="0" parTransId="{869A65B5-9EC9-4232-B274-B3DF858FE7BD}" sibTransId="{8AA27E4D-6553-4855-A684-8AD02A6EDA60}"/>
    <dgm:cxn modelId="{3F33B2E4-EC9A-4E23-BF39-115672A78FD5}" type="presOf" srcId="{15165700-27F3-4178-B7C0-4A3E3C621784}" destId="{0DFD7F48-434F-41F7-A8E8-F3DDEE4730E9}" srcOrd="0" destOrd="0" presId="urn:microsoft.com/office/officeart/2005/8/layout/vList5"/>
    <dgm:cxn modelId="{D654B2E9-4E59-41F1-9BE8-50AB051FB360}" type="presOf" srcId="{AF473787-FF6F-4F72-9839-43660A59A09C}" destId="{E6BDFBD0-E69C-4C6D-B846-3035E9FF7151}" srcOrd="0" destOrd="0" presId="urn:microsoft.com/office/officeart/2005/8/layout/vList5"/>
    <dgm:cxn modelId="{69088DB0-CEC5-478B-BD2F-0239725F4DF5}" type="presParOf" srcId="{4CBF3F3F-EE28-415D-BAF1-5F14DBFE9E16}" destId="{5B43FF09-DF7A-446F-8C12-E060E16178C2}" srcOrd="0" destOrd="0" presId="urn:microsoft.com/office/officeart/2005/8/layout/vList5"/>
    <dgm:cxn modelId="{F656257D-CEF2-4010-808E-5E571BBAC277}" type="presParOf" srcId="{5B43FF09-DF7A-446F-8C12-E060E16178C2}" destId="{9FE36F5D-7248-4DA4-9FFD-76DB9C742BE5}" srcOrd="0" destOrd="0" presId="urn:microsoft.com/office/officeart/2005/8/layout/vList5"/>
    <dgm:cxn modelId="{315F8F52-88EA-478C-A316-2ECF07760028}" type="presParOf" srcId="{5B43FF09-DF7A-446F-8C12-E060E16178C2}" destId="{E6BDFBD0-E69C-4C6D-B846-3035E9FF7151}" srcOrd="1" destOrd="0" presId="urn:microsoft.com/office/officeart/2005/8/layout/vList5"/>
    <dgm:cxn modelId="{B84DD331-E85C-4B65-AABD-6FA480975302}" type="presParOf" srcId="{4CBF3F3F-EE28-415D-BAF1-5F14DBFE9E16}" destId="{B0531734-C357-4E4E-8EE8-2E67400DF782}" srcOrd="1" destOrd="0" presId="urn:microsoft.com/office/officeart/2005/8/layout/vList5"/>
    <dgm:cxn modelId="{A3F934E1-9CDB-441B-9B6C-64DDCC763F7A}" type="presParOf" srcId="{4CBF3F3F-EE28-415D-BAF1-5F14DBFE9E16}" destId="{118A3CDC-C9B7-4635-AFA1-ECC47C9E122A}" srcOrd="2" destOrd="0" presId="urn:microsoft.com/office/officeart/2005/8/layout/vList5"/>
    <dgm:cxn modelId="{210A9333-598A-45D5-AB1A-BF0FE0C41CA4}" type="presParOf" srcId="{118A3CDC-C9B7-4635-AFA1-ECC47C9E122A}" destId="{B7EBF281-5392-4475-844D-71D64DC3D19F}" srcOrd="0" destOrd="0" presId="urn:microsoft.com/office/officeart/2005/8/layout/vList5"/>
    <dgm:cxn modelId="{1C938C6C-36B7-4AD0-A3CC-F02480C6323A}" type="presParOf" srcId="{118A3CDC-C9B7-4635-AFA1-ECC47C9E122A}" destId="{FC6462EE-C45D-4824-B63D-EA04FC820552}" srcOrd="1" destOrd="0" presId="urn:microsoft.com/office/officeart/2005/8/layout/vList5"/>
    <dgm:cxn modelId="{01F909E1-89E4-4079-90C8-043208CB0737}" type="presParOf" srcId="{4CBF3F3F-EE28-415D-BAF1-5F14DBFE9E16}" destId="{B3D25547-367C-44D8-A835-2D3DA3E0FAF7}" srcOrd="3" destOrd="0" presId="urn:microsoft.com/office/officeart/2005/8/layout/vList5"/>
    <dgm:cxn modelId="{FF5ED927-348D-4A27-A7B1-3C89F357B1BD}" type="presParOf" srcId="{4CBF3F3F-EE28-415D-BAF1-5F14DBFE9E16}" destId="{0F2B1859-E0DC-48C7-ADF1-B7DD0371F2C1}" srcOrd="4" destOrd="0" presId="urn:microsoft.com/office/officeart/2005/8/layout/vList5"/>
    <dgm:cxn modelId="{C15997AE-C144-4586-A81E-94A159C63431}" type="presParOf" srcId="{0F2B1859-E0DC-48C7-ADF1-B7DD0371F2C1}" destId="{2D6EA379-A3E5-4313-89E0-DC29113E82EA}" srcOrd="0" destOrd="0" presId="urn:microsoft.com/office/officeart/2005/8/layout/vList5"/>
    <dgm:cxn modelId="{3D3FF095-B84B-48B3-BFC0-60891AC2F6F4}" type="presParOf" srcId="{0F2B1859-E0DC-48C7-ADF1-B7DD0371F2C1}" destId="{09D0FD38-A65F-49C4-BD83-F19917332BCD}" srcOrd="1" destOrd="0" presId="urn:microsoft.com/office/officeart/2005/8/layout/vList5"/>
    <dgm:cxn modelId="{23317B93-75C4-4968-9440-CE52ED31D7F6}" type="presParOf" srcId="{4CBF3F3F-EE28-415D-BAF1-5F14DBFE9E16}" destId="{6F340F1A-1268-4321-9A26-41B63F97F42A}" srcOrd="5" destOrd="0" presId="urn:microsoft.com/office/officeart/2005/8/layout/vList5"/>
    <dgm:cxn modelId="{B30CFB4D-9B01-4A77-B73E-48D3DBF052A0}" type="presParOf" srcId="{4CBF3F3F-EE28-415D-BAF1-5F14DBFE9E16}" destId="{8E2DED69-020D-4FBF-9071-63BBB4997B3C}" srcOrd="6" destOrd="0" presId="urn:microsoft.com/office/officeart/2005/8/layout/vList5"/>
    <dgm:cxn modelId="{DED4840F-81E4-443D-9AFD-E526204D23A3}" type="presParOf" srcId="{8E2DED69-020D-4FBF-9071-63BBB4997B3C}" destId="{405ADB7C-6A42-4FDD-889B-5EE7722889B3}" srcOrd="0" destOrd="0" presId="urn:microsoft.com/office/officeart/2005/8/layout/vList5"/>
    <dgm:cxn modelId="{DD1895EC-BACF-4B53-8A15-85A824CB2444}" type="presParOf" srcId="{8E2DED69-020D-4FBF-9071-63BBB4997B3C}" destId="{0DFD7F48-434F-41F7-A8E8-F3DDEE4730E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E94C76-B11B-4E2C-9168-13137B1F76D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256FE55E-1C7E-4DDE-9C30-B4A639F6ED1F}">
      <dgm:prSet custT="1"/>
      <dgm:spPr/>
      <dgm:t>
        <a:bodyPr/>
        <a:lstStyle/>
        <a:p>
          <a:pPr>
            <a:lnSpc>
              <a:spcPct val="100000"/>
            </a:lnSpc>
          </a:pPr>
          <a:r>
            <a:rPr lang="en-US" sz="2400">
              <a:latin typeface="+mn-lt"/>
            </a:rPr>
            <a:t>Digitally signed documents containing a public/private key pair</a:t>
          </a:r>
        </a:p>
      </dgm:t>
    </dgm:pt>
    <dgm:pt modelId="{9AC6E8E2-D08F-46B7-83AC-6A0E5AADD8EF}" type="parTrans" cxnId="{C43F71F7-9171-43FC-9B84-20645AB688AB}">
      <dgm:prSet/>
      <dgm:spPr/>
      <dgm:t>
        <a:bodyPr/>
        <a:lstStyle/>
        <a:p>
          <a:endParaRPr lang="en-US"/>
        </a:p>
      </dgm:t>
    </dgm:pt>
    <dgm:pt modelId="{0621F4AD-052E-4248-846B-BEFBBBE95DE2}" type="sibTrans" cxnId="{C43F71F7-9171-43FC-9B84-20645AB688AB}">
      <dgm:prSet/>
      <dgm:spPr/>
      <dgm:t>
        <a:bodyPr/>
        <a:lstStyle/>
        <a:p>
          <a:pPr>
            <a:lnSpc>
              <a:spcPct val="100000"/>
            </a:lnSpc>
          </a:pPr>
          <a:endParaRPr lang="en-US"/>
        </a:p>
      </dgm:t>
    </dgm:pt>
    <dgm:pt modelId="{BAE40D0A-4A88-4919-AAC9-F8C7004FCEDA}">
      <dgm:prSet custT="1"/>
      <dgm:spPr/>
      <dgm:t>
        <a:bodyPr/>
        <a:lstStyle/>
        <a:p>
          <a:pPr>
            <a:lnSpc>
              <a:spcPct val="100000"/>
            </a:lnSpc>
          </a:pPr>
          <a:r>
            <a:rPr lang="en-US" sz="2400">
              <a:latin typeface="+mn-lt"/>
            </a:rPr>
            <a:t>Certificates can be used to authenticate and/or encrypt messages between two parties.</a:t>
          </a:r>
        </a:p>
      </dgm:t>
    </dgm:pt>
    <dgm:pt modelId="{EFAA0A84-79FB-42BB-87AC-5AA33E173951}" type="parTrans" cxnId="{640698EB-8C7C-4A5A-B3D4-678362E7E647}">
      <dgm:prSet/>
      <dgm:spPr/>
      <dgm:t>
        <a:bodyPr/>
        <a:lstStyle/>
        <a:p>
          <a:endParaRPr lang="en-US"/>
        </a:p>
      </dgm:t>
    </dgm:pt>
    <dgm:pt modelId="{CD23E767-2B9E-4BF6-A0CF-B3EC67DBE0D7}" type="sibTrans" cxnId="{640698EB-8C7C-4A5A-B3D4-678362E7E647}">
      <dgm:prSet/>
      <dgm:spPr/>
      <dgm:t>
        <a:bodyPr/>
        <a:lstStyle/>
        <a:p>
          <a:pPr>
            <a:lnSpc>
              <a:spcPct val="100000"/>
            </a:lnSpc>
          </a:pPr>
          <a:endParaRPr lang="en-US"/>
        </a:p>
      </dgm:t>
    </dgm:pt>
    <dgm:pt modelId="{A84D3471-D9DD-4F41-8EDE-1BF3743871C9}">
      <dgm:prSet custT="1"/>
      <dgm:spPr/>
      <dgm:t>
        <a:bodyPr/>
        <a:lstStyle/>
        <a:p>
          <a:pPr rtl="0">
            <a:lnSpc>
              <a:spcPct val="100000"/>
            </a:lnSpc>
          </a:pPr>
          <a:r>
            <a:rPr lang="en-US" sz="2400">
              <a:latin typeface="+mn-lt"/>
            </a:rPr>
            <a:t>Contain information that can either verify the sender of a message or encryption and decryption algorithm </a:t>
          </a:r>
        </a:p>
      </dgm:t>
    </dgm:pt>
    <dgm:pt modelId="{53EEB05E-75D0-49AB-9C4C-598C37D9FA1B}" type="parTrans" cxnId="{F4D2911F-B1F4-4300-92A8-0EC0ACC8F5E9}">
      <dgm:prSet/>
      <dgm:spPr/>
      <dgm:t>
        <a:bodyPr/>
        <a:lstStyle/>
        <a:p>
          <a:endParaRPr lang="en-US"/>
        </a:p>
      </dgm:t>
    </dgm:pt>
    <dgm:pt modelId="{8DB022CC-C73D-42F4-87AA-0BE24DF6EC9C}" type="sibTrans" cxnId="{F4D2911F-B1F4-4300-92A8-0EC0ACC8F5E9}">
      <dgm:prSet/>
      <dgm:spPr/>
      <dgm:t>
        <a:bodyPr/>
        <a:lstStyle/>
        <a:p>
          <a:endParaRPr lang="en-US"/>
        </a:p>
      </dgm:t>
    </dgm:pt>
    <dgm:pt modelId="{06534AC8-0D0D-4E30-BBFC-D50BF2484069}" type="pres">
      <dgm:prSet presAssocID="{56E94C76-B11B-4E2C-9168-13137B1F76D6}" presName="root" presStyleCnt="0">
        <dgm:presLayoutVars>
          <dgm:dir/>
          <dgm:resizeHandles val="exact"/>
        </dgm:presLayoutVars>
      </dgm:prSet>
      <dgm:spPr/>
    </dgm:pt>
    <dgm:pt modelId="{25C0AD10-4A08-4FD8-851A-8FEA28E35434}" type="pres">
      <dgm:prSet presAssocID="{256FE55E-1C7E-4DDE-9C30-B4A639F6ED1F}" presName="compNode" presStyleCnt="0"/>
      <dgm:spPr/>
    </dgm:pt>
    <dgm:pt modelId="{347E8A98-8494-4087-9D6C-AEA7E51B2B07}" type="pres">
      <dgm:prSet presAssocID="{256FE55E-1C7E-4DDE-9C30-B4A639F6ED1F}" presName="bgRect" presStyleLbl="bgShp" presStyleIdx="0" presStyleCnt="3" custLinFactNeighborX="-423" custLinFactNeighborY="-19300"/>
      <dgm:spPr/>
    </dgm:pt>
    <dgm:pt modelId="{455E54B9-E096-4E30-A3E1-79EFBDFB6BF4}" type="pres">
      <dgm:prSet presAssocID="{256FE55E-1C7E-4DDE-9C30-B4A639F6ED1F}"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Key"/>
        </a:ext>
      </dgm:extLst>
    </dgm:pt>
    <dgm:pt modelId="{1C5A3B97-5251-4DEB-9F06-C3D01E9B53E6}" type="pres">
      <dgm:prSet presAssocID="{256FE55E-1C7E-4DDE-9C30-B4A639F6ED1F}" presName="spaceRect" presStyleCnt="0"/>
      <dgm:spPr/>
    </dgm:pt>
    <dgm:pt modelId="{5D35EB46-69FC-44A1-94B6-1ABD20555B45}" type="pres">
      <dgm:prSet presAssocID="{256FE55E-1C7E-4DDE-9C30-B4A639F6ED1F}" presName="parTx" presStyleLbl="revTx" presStyleIdx="0" presStyleCnt="3">
        <dgm:presLayoutVars>
          <dgm:chMax val="0"/>
          <dgm:chPref val="0"/>
        </dgm:presLayoutVars>
      </dgm:prSet>
      <dgm:spPr/>
    </dgm:pt>
    <dgm:pt modelId="{3B64A2A1-BC28-4DFC-B637-93F3E1FB86EC}" type="pres">
      <dgm:prSet presAssocID="{0621F4AD-052E-4248-846B-BEFBBBE95DE2}" presName="sibTrans" presStyleCnt="0"/>
      <dgm:spPr/>
    </dgm:pt>
    <dgm:pt modelId="{A080B9C3-D171-4368-8B41-3984796B060D}" type="pres">
      <dgm:prSet presAssocID="{BAE40D0A-4A88-4919-AAC9-F8C7004FCEDA}" presName="compNode" presStyleCnt="0"/>
      <dgm:spPr/>
    </dgm:pt>
    <dgm:pt modelId="{0525C870-E2A0-42D2-B9E4-7D08BD88B75D}" type="pres">
      <dgm:prSet presAssocID="{BAE40D0A-4A88-4919-AAC9-F8C7004FCEDA}" presName="bgRect" presStyleLbl="bgShp" presStyleIdx="1" presStyleCnt="3"/>
      <dgm:spPr/>
    </dgm:pt>
    <dgm:pt modelId="{FCD1236E-5BB0-41DF-B690-0A8F388C3E5C}" type="pres">
      <dgm:prSet presAssocID="{BAE40D0A-4A88-4919-AAC9-F8C7004FCEDA}"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Diploma"/>
        </a:ext>
      </dgm:extLst>
    </dgm:pt>
    <dgm:pt modelId="{1D06A2AD-2419-4431-B71F-D0CA214280E5}" type="pres">
      <dgm:prSet presAssocID="{BAE40D0A-4A88-4919-AAC9-F8C7004FCEDA}" presName="spaceRect" presStyleCnt="0"/>
      <dgm:spPr/>
    </dgm:pt>
    <dgm:pt modelId="{89FAB63B-9840-4786-839B-25F8F0D87D87}" type="pres">
      <dgm:prSet presAssocID="{BAE40D0A-4A88-4919-AAC9-F8C7004FCEDA}" presName="parTx" presStyleLbl="revTx" presStyleIdx="1" presStyleCnt="3">
        <dgm:presLayoutVars>
          <dgm:chMax val="0"/>
          <dgm:chPref val="0"/>
        </dgm:presLayoutVars>
      </dgm:prSet>
      <dgm:spPr/>
    </dgm:pt>
    <dgm:pt modelId="{C448596A-5728-4CE1-AD16-C2C5EE5F7E82}" type="pres">
      <dgm:prSet presAssocID="{CD23E767-2B9E-4BF6-A0CF-B3EC67DBE0D7}" presName="sibTrans" presStyleCnt="0"/>
      <dgm:spPr/>
    </dgm:pt>
    <dgm:pt modelId="{F8CA7AEE-A79C-42B5-BFB5-9788C1E06D2E}" type="pres">
      <dgm:prSet presAssocID="{A84D3471-D9DD-4F41-8EDE-1BF3743871C9}" presName="compNode" presStyleCnt="0"/>
      <dgm:spPr/>
    </dgm:pt>
    <dgm:pt modelId="{62B47832-C10A-4A41-A4D2-D3C5AFEB2A3B}" type="pres">
      <dgm:prSet presAssocID="{A84D3471-D9DD-4F41-8EDE-1BF3743871C9}" presName="bgRect" presStyleLbl="bgShp" presStyleIdx="2" presStyleCnt="3"/>
      <dgm:spPr/>
    </dgm:pt>
    <dgm:pt modelId="{C683A1F5-0C52-40E3-9F3D-C2E790C50A0D}" type="pres">
      <dgm:prSet presAssocID="{A84D3471-D9DD-4F41-8EDE-1BF3743871C9}"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Blog"/>
        </a:ext>
      </dgm:extLst>
    </dgm:pt>
    <dgm:pt modelId="{0C31CB21-62E4-4E7D-B761-D66A9B55AA78}" type="pres">
      <dgm:prSet presAssocID="{A84D3471-D9DD-4F41-8EDE-1BF3743871C9}" presName="spaceRect" presStyleCnt="0"/>
      <dgm:spPr/>
    </dgm:pt>
    <dgm:pt modelId="{C1C416EE-FA42-4CBF-8D7F-4467623368A1}" type="pres">
      <dgm:prSet presAssocID="{A84D3471-D9DD-4F41-8EDE-1BF3743871C9}" presName="parTx" presStyleLbl="revTx" presStyleIdx="2" presStyleCnt="3">
        <dgm:presLayoutVars>
          <dgm:chMax val="0"/>
          <dgm:chPref val="0"/>
        </dgm:presLayoutVars>
      </dgm:prSet>
      <dgm:spPr/>
    </dgm:pt>
  </dgm:ptLst>
  <dgm:cxnLst>
    <dgm:cxn modelId="{F4D2911F-B1F4-4300-92A8-0EC0ACC8F5E9}" srcId="{56E94C76-B11B-4E2C-9168-13137B1F76D6}" destId="{A84D3471-D9DD-4F41-8EDE-1BF3743871C9}" srcOrd="2" destOrd="0" parTransId="{53EEB05E-75D0-49AB-9C4C-598C37D9FA1B}" sibTransId="{8DB022CC-C73D-42F4-87AA-0BE24DF6EC9C}"/>
    <dgm:cxn modelId="{B1676E32-0C73-4B24-BE30-9E0BCC6D7543}" type="presOf" srcId="{BAE40D0A-4A88-4919-AAC9-F8C7004FCEDA}" destId="{89FAB63B-9840-4786-839B-25F8F0D87D87}" srcOrd="0" destOrd="0" presId="urn:microsoft.com/office/officeart/2018/2/layout/IconVerticalSolidList"/>
    <dgm:cxn modelId="{BE3EB547-5B28-4AD9-B554-34BD5EB59B23}" type="presOf" srcId="{256FE55E-1C7E-4DDE-9C30-B4A639F6ED1F}" destId="{5D35EB46-69FC-44A1-94B6-1ABD20555B45}" srcOrd="0" destOrd="0" presId="urn:microsoft.com/office/officeart/2018/2/layout/IconVerticalSolidList"/>
    <dgm:cxn modelId="{2BD17449-616F-4DB1-976E-A98B85C867B4}" type="presOf" srcId="{A84D3471-D9DD-4F41-8EDE-1BF3743871C9}" destId="{C1C416EE-FA42-4CBF-8D7F-4467623368A1}" srcOrd="0" destOrd="0" presId="urn:microsoft.com/office/officeart/2018/2/layout/IconVerticalSolidList"/>
    <dgm:cxn modelId="{F72468EB-0CC9-4A8D-9D3B-0953E309C570}" type="presOf" srcId="{56E94C76-B11B-4E2C-9168-13137B1F76D6}" destId="{06534AC8-0D0D-4E30-BBFC-D50BF2484069}" srcOrd="0" destOrd="0" presId="urn:microsoft.com/office/officeart/2018/2/layout/IconVerticalSolidList"/>
    <dgm:cxn modelId="{640698EB-8C7C-4A5A-B3D4-678362E7E647}" srcId="{56E94C76-B11B-4E2C-9168-13137B1F76D6}" destId="{BAE40D0A-4A88-4919-AAC9-F8C7004FCEDA}" srcOrd="1" destOrd="0" parTransId="{EFAA0A84-79FB-42BB-87AC-5AA33E173951}" sibTransId="{CD23E767-2B9E-4BF6-A0CF-B3EC67DBE0D7}"/>
    <dgm:cxn modelId="{C43F71F7-9171-43FC-9B84-20645AB688AB}" srcId="{56E94C76-B11B-4E2C-9168-13137B1F76D6}" destId="{256FE55E-1C7E-4DDE-9C30-B4A639F6ED1F}" srcOrd="0" destOrd="0" parTransId="{9AC6E8E2-D08F-46B7-83AC-6A0E5AADD8EF}" sibTransId="{0621F4AD-052E-4248-846B-BEFBBBE95DE2}"/>
    <dgm:cxn modelId="{EBBCDC11-D8D1-455F-A21F-A54A94FC47CC}" type="presParOf" srcId="{06534AC8-0D0D-4E30-BBFC-D50BF2484069}" destId="{25C0AD10-4A08-4FD8-851A-8FEA28E35434}" srcOrd="0" destOrd="0" presId="urn:microsoft.com/office/officeart/2018/2/layout/IconVerticalSolidList"/>
    <dgm:cxn modelId="{9637851A-E00C-43C2-A989-473890F8ABEB}" type="presParOf" srcId="{25C0AD10-4A08-4FD8-851A-8FEA28E35434}" destId="{347E8A98-8494-4087-9D6C-AEA7E51B2B07}" srcOrd="0" destOrd="0" presId="urn:microsoft.com/office/officeart/2018/2/layout/IconVerticalSolidList"/>
    <dgm:cxn modelId="{676A6507-E707-4709-BA3A-A0E7310BE81A}" type="presParOf" srcId="{25C0AD10-4A08-4FD8-851A-8FEA28E35434}" destId="{455E54B9-E096-4E30-A3E1-79EFBDFB6BF4}" srcOrd="1" destOrd="0" presId="urn:microsoft.com/office/officeart/2018/2/layout/IconVerticalSolidList"/>
    <dgm:cxn modelId="{E200216D-7AE9-41F1-8E59-26F77E4015AD}" type="presParOf" srcId="{25C0AD10-4A08-4FD8-851A-8FEA28E35434}" destId="{1C5A3B97-5251-4DEB-9F06-C3D01E9B53E6}" srcOrd="2" destOrd="0" presId="urn:microsoft.com/office/officeart/2018/2/layout/IconVerticalSolidList"/>
    <dgm:cxn modelId="{E0B1CC63-CC44-42F5-9AC1-CFA6A9B49CA7}" type="presParOf" srcId="{25C0AD10-4A08-4FD8-851A-8FEA28E35434}" destId="{5D35EB46-69FC-44A1-94B6-1ABD20555B45}" srcOrd="3" destOrd="0" presId="urn:microsoft.com/office/officeart/2018/2/layout/IconVerticalSolidList"/>
    <dgm:cxn modelId="{7580427E-7BE1-4C6F-AAB5-F51EE645816B}" type="presParOf" srcId="{06534AC8-0D0D-4E30-BBFC-D50BF2484069}" destId="{3B64A2A1-BC28-4DFC-B637-93F3E1FB86EC}" srcOrd="1" destOrd="0" presId="urn:microsoft.com/office/officeart/2018/2/layout/IconVerticalSolidList"/>
    <dgm:cxn modelId="{9634A4CD-D7F3-4017-89A5-4C32270AF0C1}" type="presParOf" srcId="{06534AC8-0D0D-4E30-BBFC-D50BF2484069}" destId="{A080B9C3-D171-4368-8B41-3984796B060D}" srcOrd="2" destOrd="0" presId="urn:microsoft.com/office/officeart/2018/2/layout/IconVerticalSolidList"/>
    <dgm:cxn modelId="{68AB2885-7C6E-45B5-91B1-561AA42B7251}" type="presParOf" srcId="{A080B9C3-D171-4368-8B41-3984796B060D}" destId="{0525C870-E2A0-42D2-B9E4-7D08BD88B75D}" srcOrd="0" destOrd="0" presId="urn:microsoft.com/office/officeart/2018/2/layout/IconVerticalSolidList"/>
    <dgm:cxn modelId="{0B089656-7C41-42B7-97D2-0138F4F4B8A3}" type="presParOf" srcId="{A080B9C3-D171-4368-8B41-3984796B060D}" destId="{FCD1236E-5BB0-41DF-B690-0A8F388C3E5C}" srcOrd="1" destOrd="0" presId="urn:microsoft.com/office/officeart/2018/2/layout/IconVerticalSolidList"/>
    <dgm:cxn modelId="{0483D61C-658B-4776-BD33-D79767B2E852}" type="presParOf" srcId="{A080B9C3-D171-4368-8B41-3984796B060D}" destId="{1D06A2AD-2419-4431-B71F-D0CA214280E5}" srcOrd="2" destOrd="0" presId="urn:microsoft.com/office/officeart/2018/2/layout/IconVerticalSolidList"/>
    <dgm:cxn modelId="{C5D1D2EF-A5D2-4D78-A0A6-B9568C914225}" type="presParOf" srcId="{A080B9C3-D171-4368-8B41-3984796B060D}" destId="{89FAB63B-9840-4786-839B-25F8F0D87D87}" srcOrd="3" destOrd="0" presId="urn:microsoft.com/office/officeart/2018/2/layout/IconVerticalSolidList"/>
    <dgm:cxn modelId="{ACD10E86-41F4-49E5-84F5-C83ACCA75E1A}" type="presParOf" srcId="{06534AC8-0D0D-4E30-BBFC-D50BF2484069}" destId="{C448596A-5728-4CE1-AD16-C2C5EE5F7E82}" srcOrd="3" destOrd="0" presId="urn:microsoft.com/office/officeart/2018/2/layout/IconVerticalSolidList"/>
    <dgm:cxn modelId="{37B72367-B302-4FEA-B845-1FBB63DA2DB2}" type="presParOf" srcId="{06534AC8-0D0D-4E30-BBFC-D50BF2484069}" destId="{F8CA7AEE-A79C-42B5-BFB5-9788C1E06D2E}" srcOrd="4" destOrd="0" presId="urn:microsoft.com/office/officeart/2018/2/layout/IconVerticalSolidList"/>
    <dgm:cxn modelId="{096D78C6-E998-4809-BFDF-BCF98D38B075}" type="presParOf" srcId="{F8CA7AEE-A79C-42B5-BFB5-9788C1E06D2E}" destId="{62B47832-C10A-4A41-A4D2-D3C5AFEB2A3B}" srcOrd="0" destOrd="0" presId="urn:microsoft.com/office/officeart/2018/2/layout/IconVerticalSolidList"/>
    <dgm:cxn modelId="{51501E78-8DAD-4D6E-A8F8-12D65AD01DE5}" type="presParOf" srcId="{F8CA7AEE-A79C-42B5-BFB5-9788C1E06D2E}" destId="{C683A1F5-0C52-40E3-9F3D-C2E790C50A0D}" srcOrd="1" destOrd="0" presId="urn:microsoft.com/office/officeart/2018/2/layout/IconVerticalSolidList"/>
    <dgm:cxn modelId="{0EBA63BE-6265-4538-A5ED-4D7910FF5B9F}" type="presParOf" srcId="{F8CA7AEE-A79C-42B5-BFB5-9788C1E06D2E}" destId="{0C31CB21-62E4-4E7D-B761-D66A9B55AA78}" srcOrd="2" destOrd="0" presId="urn:microsoft.com/office/officeart/2018/2/layout/IconVerticalSolidList"/>
    <dgm:cxn modelId="{DD0E3976-1F23-4D83-AC23-A7938A0A55BC}" type="presParOf" srcId="{F8CA7AEE-A79C-42B5-BFB5-9788C1E06D2E}" destId="{C1C416EE-FA42-4CBF-8D7F-4467623368A1}"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0122EA2-A6D3-4865-A753-0061F3B71615}"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CB4F624B-3211-4D51-8193-CCD857790316}">
      <dgm:prSet/>
      <dgm:spPr/>
      <dgm:t>
        <a:bodyPr/>
        <a:lstStyle/>
        <a:p>
          <a:pPr>
            <a:lnSpc>
              <a:spcPct val="100000"/>
            </a:lnSpc>
          </a:pPr>
          <a:r>
            <a:rPr lang="en-US"/>
            <a:t>Introduced in SQL Server 2016</a:t>
          </a:r>
        </a:p>
      </dgm:t>
    </dgm:pt>
    <dgm:pt modelId="{4731D37D-EFE4-4BE7-B66A-84ADC3DC85DF}" type="parTrans" cxnId="{7F688DF8-3EF7-4AF7-B0BA-5019352E7E32}">
      <dgm:prSet/>
      <dgm:spPr/>
      <dgm:t>
        <a:bodyPr/>
        <a:lstStyle/>
        <a:p>
          <a:endParaRPr lang="en-US"/>
        </a:p>
      </dgm:t>
    </dgm:pt>
    <dgm:pt modelId="{8486F6FD-F5CC-49A7-A948-82651A588A3F}" type="sibTrans" cxnId="{7F688DF8-3EF7-4AF7-B0BA-5019352E7E32}">
      <dgm:prSet/>
      <dgm:spPr/>
      <dgm:t>
        <a:bodyPr/>
        <a:lstStyle/>
        <a:p>
          <a:endParaRPr lang="en-US"/>
        </a:p>
      </dgm:t>
    </dgm:pt>
    <dgm:pt modelId="{20EE3305-B4F3-4167-BC63-FD0F1183559A}">
      <dgm:prSet/>
      <dgm:spPr/>
      <dgm:t>
        <a:bodyPr/>
        <a:lstStyle/>
        <a:p>
          <a:pPr>
            <a:lnSpc>
              <a:spcPct val="100000"/>
            </a:lnSpc>
          </a:pPr>
          <a:r>
            <a:rPr lang="en-US"/>
            <a:t>Client-side encryption/decryption</a:t>
          </a:r>
        </a:p>
      </dgm:t>
    </dgm:pt>
    <dgm:pt modelId="{637249E4-1A0B-4539-A305-C8DD9F8BFD04}" type="parTrans" cxnId="{CA5BA6C7-8F0B-4359-AFCD-67C4C85D31CA}">
      <dgm:prSet/>
      <dgm:spPr/>
      <dgm:t>
        <a:bodyPr/>
        <a:lstStyle/>
        <a:p>
          <a:endParaRPr lang="en-US"/>
        </a:p>
      </dgm:t>
    </dgm:pt>
    <dgm:pt modelId="{365465F0-CD03-4446-B4B0-19EEE53CDFB1}" type="sibTrans" cxnId="{CA5BA6C7-8F0B-4359-AFCD-67C4C85D31CA}">
      <dgm:prSet/>
      <dgm:spPr/>
      <dgm:t>
        <a:bodyPr/>
        <a:lstStyle/>
        <a:p>
          <a:endParaRPr lang="en-US"/>
        </a:p>
      </dgm:t>
    </dgm:pt>
    <dgm:pt modelId="{DF72F77D-B218-4E24-AD48-28EAAFE27FC6}">
      <dgm:prSet/>
      <dgm:spPr/>
      <dgm:t>
        <a:bodyPr/>
        <a:lstStyle/>
        <a:p>
          <a:pPr>
            <a:lnSpc>
              <a:spcPct val="100000"/>
            </a:lnSpc>
          </a:pPr>
          <a:r>
            <a:rPr lang="en-US"/>
            <a:t>Based on certificate stored on client machines</a:t>
          </a:r>
        </a:p>
      </dgm:t>
    </dgm:pt>
    <dgm:pt modelId="{F7B220C4-E7FA-469F-A6E3-D028CFDCA380}" type="parTrans" cxnId="{5CE8943E-FBEA-4CE4-94EF-9C9BC598EC07}">
      <dgm:prSet/>
      <dgm:spPr/>
      <dgm:t>
        <a:bodyPr/>
        <a:lstStyle/>
        <a:p>
          <a:endParaRPr lang="en-US"/>
        </a:p>
      </dgm:t>
    </dgm:pt>
    <dgm:pt modelId="{12B9724D-0056-45A2-A281-65AFAF80FCF0}" type="sibTrans" cxnId="{5CE8943E-FBEA-4CE4-94EF-9C9BC598EC07}">
      <dgm:prSet/>
      <dgm:spPr/>
      <dgm:t>
        <a:bodyPr/>
        <a:lstStyle/>
        <a:p>
          <a:endParaRPr lang="en-US"/>
        </a:p>
      </dgm:t>
    </dgm:pt>
    <dgm:pt modelId="{7FD940AC-8478-4950-BE3B-F56BEACCF3A9}">
      <dgm:prSet/>
      <dgm:spPr/>
      <dgm:t>
        <a:bodyPr/>
        <a:lstStyle/>
        <a:p>
          <a:pPr>
            <a:lnSpc>
              <a:spcPct val="100000"/>
            </a:lnSpc>
          </a:pPr>
          <a:r>
            <a:rPr lang="en-US" dirty="0"/>
            <a:t>Allows encrypting specific columns</a:t>
          </a:r>
        </a:p>
      </dgm:t>
    </dgm:pt>
    <dgm:pt modelId="{7A051449-40BC-4E62-AA20-26A1AB9DD4F2}" type="sibTrans" cxnId="{7F458E08-A594-43ED-8D13-2B31FB44D91B}">
      <dgm:prSet/>
      <dgm:spPr/>
      <dgm:t>
        <a:bodyPr/>
        <a:lstStyle/>
        <a:p>
          <a:endParaRPr lang="en-US"/>
        </a:p>
      </dgm:t>
    </dgm:pt>
    <dgm:pt modelId="{E712D382-4A3D-41CF-BB27-DEBD5B8FFA28}" type="parTrans" cxnId="{7F458E08-A594-43ED-8D13-2B31FB44D91B}">
      <dgm:prSet/>
      <dgm:spPr/>
      <dgm:t>
        <a:bodyPr/>
        <a:lstStyle/>
        <a:p>
          <a:endParaRPr lang="en-US"/>
        </a:p>
      </dgm:t>
    </dgm:pt>
    <dgm:pt modelId="{099123C1-CABF-4153-9667-6DFF42DA74EC}" type="pres">
      <dgm:prSet presAssocID="{B0122EA2-A6D3-4865-A753-0061F3B71615}" presName="root" presStyleCnt="0">
        <dgm:presLayoutVars>
          <dgm:dir/>
          <dgm:resizeHandles val="exact"/>
        </dgm:presLayoutVars>
      </dgm:prSet>
      <dgm:spPr/>
    </dgm:pt>
    <dgm:pt modelId="{30DA3D0B-638C-427B-8BB2-C15A902A2B52}" type="pres">
      <dgm:prSet presAssocID="{CB4F624B-3211-4D51-8193-CCD857790316}" presName="compNode" presStyleCnt="0"/>
      <dgm:spPr/>
    </dgm:pt>
    <dgm:pt modelId="{272497A0-1BCD-4E97-8A73-BBD74F490836}" type="pres">
      <dgm:prSet presAssocID="{CB4F624B-3211-4D51-8193-CCD857790316}" presName="bgRect" presStyleLbl="bgShp" presStyleIdx="0" presStyleCnt="4"/>
      <dgm:spPr/>
    </dgm:pt>
    <dgm:pt modelId="{F62CC3F1-76F5-4FFC-BA41-C6EAEB74E28B}" type="pres">
      <dgm:prSet presAssocID="{CB4F624B-3211-4D51-8193-CCD857790316}"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erver"/>
        </a:ext>
      </dgm:extLst>
    </dgm:pt>
    <dgm:pt modelId="{988A275B-3E8A-491C-9A8B-BAA8F437BB3B}" type="pres">
      <dgm:prSet presAssocID="{CB4F624B-3211-4D51-8193-CCD857790316}" presName="spaceRect" presStyleCnt="0"/>
      <dgm:spPr/>
    </dgm:pt>
    <dgm:pt modelId="{D8EAE26F-123C-4B06-8961-727F0F20ACA8}" type="pres">
      <dgm:prSet presAssocID="{CB4F624B-3211-4D51-8193-CCD857790316}" presName="parTx" presStyleLbl="revTx" presStyleIdx="0" presStyleCnt="4">
        <dgm:presLayoutVars>
          <dgm:chMax val="0"/>
          <dgm:chPref val="0"/>
        </dgm:presLayoutVars>
      </dgm:prSet>
      <dgm:spPr/>
    </dgm:pt>
    <dgm:pt modelId="{AD6F0381-4E0F-4496-8E1C-D193725D9A1F}" type="pres">
      <dgm:prSet presAssocID="{8486F6FD-F5CC-49A7-A948-82651A588A3F}" presName="sibTrans" presStyleCnt="0"/>
      <dgm:spPr/>
    </dgm:pt>
    <dgm:pt modelId="{2CC67FE5-02B4-4EA3-A69A-5EE627F90AAA}" type="pres">
      <dgm:prSet presAssocID="{7FD940AC-8478-4950-BE3B-F56BEACCF3A9}" presName="compNode" presStyleCnt="0"/>
      <dgm:spPr/>
    </dgm:pt>
    <dgm:pt modelId="{42736B99-B78C-413D-9028-049B6B588770}" type="pres">
      <dgm:prSet presAssocID="{7FD940AC-8478-4950-BE3B-F56BEACCF3A9}" presName="bgRect" presStyleLbl="bgShp" presStyleIdx="1" presStyleCnt="4"/>
      <dgm:spPr/>
    </dgm:pt>
    <dgm:pt modelId="{CA97EAA4-9E3B-4DB3-882F-005FCC6FEEBF}" type="pres">
      <dgm:prSet presAssocID="{7FD940AC-8478-4950-BE3B-F56BEACCF3A9}"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Key"/>
        </a:ext>
      </dgm:extLst>
    </dgm:pt>
    <dgm:pt modelId="{CEB022A3-4524-4A59-9718-761E21C9CF81}" type="pres">
      <dgm:prSet presAssocID="{7FD940AC-8478-4950-BE3B-F56BEACCF3A9}" presName="spaceRect" presStyleCnt="0"/>
      <dgm:spPr/>
    </dgm:pt>
    <dgm:pt modelId="{62DEF695-3BEC-4FCC-89F6-FC2B7E9E1DCE}" type="pres">
      <dgm:prSet presAssocID="{7FD940AC-8478-4950-BE3B-F56BEACCF3A9}" presName="parTx" presStyleLbl="revTx" presStyleIdx="1" presStyleCnt="4">
        <dgm:presLayoutVars>
          <dgm:chMax val="0"/>
          <dgm:chPref val="0"/>
        </dgm:presLayoutVars>
      </dgm:prSet>
      <dgm:spPr/>
    </dgm:pt>
    <dgm:pt modelId="{310269F8-6C87-4DB8-B0A0-C03E9C74B6FA}" type="pres">
      <dgm:prSet presAssocID="{7A051449-40BC-4E62-AA20-26A1AB9DD4F2}" presName="sibTrans" presStyleCnt="0"/>
      <dgm:spPr/>
    </dgm:pt>
    <dgm:pt modelId="{9FAB02DB-C34E-4AAD-B1A4-09D45A1DDAFD}" type="pres">
      <dgm:prSet presAssocID="{20EE3305-B4F3-4167-BC63-FD0F1183559A}" presName="compNode" presStyleCnt="0"/>
      <dgm:spPr/>
    </dgm:pt>
    <dgm:pt modelId="{477CE55C-1E2F-49B3-9F69-C68F6765E249}" type="pres">
      <dgm:prSet presAssocID="{20EE3305-B4F3-4167-BC63-FD0F1183559A}" presName="bgRect" presStyleLbl="bgShp" presStyleIdx="2" presStyleCnt="4"/>
      <dgm:spPr/>
    </dgm:pt>
    <dgm:pt modelId="{5C7CE1D9-61EA-4230-80AE-0B6C94E54E46}" type="pres">
      <dgm:prSet presAssocID="{20EE3305-B4F3-4167-BC63-FD0F1183559A}"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nlock"/>
        </a:ext>
      </dgm:extLst>
    </dgm:pt>
    <dgm:pt modelId="{3DF16147-0E9D-4087-ABDF-11848C250FFF}" type="pres">
      <dgm:prSet presAssocID="{20EE3305-B4F3-4167-BC63-FD0F1183559A}" presName="spaceRect" presStyleCnt="0"/>
      <dgm:spPr/>
    </dgm:pt>
    <dgm:pt modelId="{C5657E4D-B67D-4957-865E-ECBE4EB780AF}" type="pres">
      <dgm:prSet presAssocID="{20EE3305-B4F3-4167-BC63-FD0F1183559A}" presName="parTx" presStyleLbl="revTx" presStyleIdx="2" presStyleCnt="4">
        <dgm:presLayoutVars>
          <dgm:chMax val="0"/>
          <dgm:chPref val="0"/>
        </dgm:presLayoutVars>
      </dgm:prSet>
      <dgm:spPr/>
    </dgm:pt>
    <dgm:pt modelId="{CEE102E1-C5FE-4432-9CFE-FBC4B87EBEB1}" type="pres">
      <dgm:prSet presAssocID="{365465F0-CD03-4446-B4B0-19EEE53CDFB1}" presName="sibTrans" presStyleCnt="0"/>
      <dgm:spPr/>
    </dgm:pt>
    <dgm:pt modelId="{2B162402-FE1E-4F74-9E47-FBFD759F9A99}" type="pres">
      <dgm:prSet presAssocID="{DF72F77D-B218-4E24-AD48-28EAAFE27FC6}" presName="compNode" presStyleCnt="0"/>
      <dgm:spPr/>
    </dgm:pt>
    <dgm:pt modelId="{7E42E1C3-E2B3-4F34-B7F0-D79D6190642E}" type="pres">
      <dgm:prSet presAssocID="{DF72F77D-B218-4E24-AD48-28EAAFE27FC6}" presName="bgRect" presStyleLbl="bgShp" presStyleIdx="3" presStyleCnt="4"/>
      <dgm:spPr/>
    </dgm:pt>
    <dgm:pt modelId="{3EA79276-BF16-4A68-B1C7-2D9F0C65BFA0}" type="pres">
      <dgm:prSet presAssocID="{DF72F77D-B218-4E24-AD48-28EAAFE27FC6}"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omputer"/>
        </a:ext>
      </dgm:extLst>
    </dgm:pt>
    <dgm:pt modelId="{7C39D64D-EF0D-4926-8B06-B68823545C81}" type="pres">
      <dgm:prSet presAssocID="{DF72F77D-B218-4E24-AD48-28EAAFE27FC6}" presName="spaceRect" presStyleCnt="0"/>
      <dgm:spPr/>
    </dgm:pt>
    <dgm:pt modelId="{32ACA3DA-4D80-48DA-9554-983258E0A573}" type="pres">
      <dgm:prSet presAssocID="{DF72F77D-B218-4E24-AD48-28EAAFE27FC6}" presName="parTx" presStyleLbl="revTx" presStyleIdx="3" presStyleCnt="4">
        <dgm:presLayoutVars>
          <dgm:chMax val="0"/>
          <dgm:chPref val="0"/>
        </dgm:presLayoutVars>
      </dgm:prSet>
      <dgm:spPr/>
    </dgm:pt>
  </dgm:ptLst>
  <dgm:cxnLst>
    <dgm:cxn modelId="{7F458E08-A594-43ED-8D13-2B31FB44D91B}" srcId="{B0122EA2-A6D3-4865-A753-0061F3B71615}" destId="{7FD940AC-8478-4950-BE3B-F56BEACCF3A9}" srcOrd="1" destOrd="0" parTransId="{E712D382-4A3D-41CF-BB27-DEBD5B8FFA28}" sibTransId="{7A051449-40BC-4E62-AA20-26A1AB9DD4F2}"/>
    <dgm:cxn modelId="{73436730-30DA-498C-B811-654650C7170B}" type="presOf" srcId="{B0122EA2-A6D3-4865-A753-0061F3B71615}" destId="{099123C1-CABF-4153-9667-6DFF42DA74EC}" srcOrd="0" destOrd="0" presId="urn:microsoft.com/office/officeart/2018/2/layout/IconVerticalSolidList"/>
    <dgm:cxn modelId="{5CE8943E-FBEA-4CE4-94EF-9C9BC598EC07}" srcId="{B0122EA2-A6D3-4865-A753-0061F3B71615}" destId="{DF72F77D-B218-4E24-AD48-28EAAFE27FC6}" srcOrd="3" destOrd="0" parTransId="{F7B220C4-E7FA-469F-A6E3-D028CFDCA380}" sibTransId="{12B9724D-0056-45A2-A281-65AFAF80FCF0}"/>
    <dgm:cxn modelId="{DECB9776-AE5B-4154-8FB2-ECDE48F06C77}" type="presOf" srcId="{20EE3305-B4F3-4167-BC63-FD0F1183559A}" destId="{C5657E4D-B67D-4957-865E-ECBE4EB780AF}" srcOrd="0" destOrd="0" presId="urn:microsoft.com/office/officeart/2018/2/layout/IconVerticalSolidList"/>
    <dgm:cxn modelId="{0B2A288D-F19F-43E8-8730-3075A8C7B548}" type="presOf" srcId="{7FD940AC-8478-4950-BE3B-F56BEACCF3A9}" destId="{62DEF695-3BEC-4FCC-89F6-FC2B7E9E1DCE}" srcOrd="0" destOrd="0" presId="urn:microsoft.com/office/officeart/2018/2/layout/IconVerticalSolidList"/>
    <dgm:cxn modelId="{CAE7DB92-AE51-467A-81A1-3A31BB721047}" type="presOf" srcId="{CB4F624B-3211-4D51-8193-CCD857790316}" destId="{D8EAE26F-123C-4B06-8961-727F0F20ACA8}" srcOrd="0" destOrd="0" presId="urn:microsoft.com/office/officeart/2018/2/layout/IconVerticalSolidList"/>
    <dgm:cxn modelId="{CA5BA6C7-8F0B-4359-AFCD-67C4C85D31CA}" srcId="{B0122EA2-A6D3-4865-A753-0061F3B71615}" destId="{20EE3305-B4F3-4167-BC63-FD0F1183559A}" srcOrd="2" destOrd="0" parTransId="{637249E4-1A0B-4539-A305-C8DD9F8BFD04}" sibTransId="{365465F0-CD03-4446-B4B0-19EEE53CDFB1}"/>
    <dgm:cxn modelId="{3CB92AE0-4907-41BC-B08F-9285A9892433}" type="presOf" srcId="{DF72F77D-B218-4E24-AD48-28EAAFE27FC6}" destId="{32ACA3DA-4D80-48DA-9554-983258E0A573}" srcOrd="0" destOrd="0" presId="urn:microsoft.com/office/officeart/2018/2/layout/IconVerticalSolidList"/>
    <dgm:cxn modelId="{7F688DF8-3EF7-4AF7-B0BA-5019352E7E32}" srcId="{B0122EA2-A6D3-4865-A753-0061F3B71615}" destId="{CB4F624B-3211-4D51-8193-CCD857790316}" srcOrd="0" destOrd="0" parTransId="{4731D37D-EFE4-4BE7-B66A-84ADC3DC85DF}" sibTransId="{8486F6FD-F5CC-49A7-A948-82651A588A3F}"/>
    <dgm:cxn modelId="{5CBEB2D8-795D-434E-95A5-B5DA069B6DA5}" type="presParOf" srcId="{099123C1-CABF-4153-9667-6DFF42DA74EC}" destId="{30DA3D0B-638C-427B-8BB2-C15A902A2B52}" srcOrd="0" destOrd="0" presId="urn:microsoft.com/office/officeart/2018/2/layout/IconVerticalSolidList"/>
    <dgm:cxn modelId="{114391FF-1249-4D5A-A8B7-99A6E5117E9F}" type="presParOf" srcId="{30DA3D0B-638C-427B-8BB2-C15A902A2B52}" destId="{272497A0-1BCD-4E97-8A73-BBD74F490836}" srcOrd="0" destOrd="0" presId="urn:microsoft.com/office/officeart/2018/2/layout/IconVerticalSolidList"/>
    <dgm:cxn modelId="{148DB6F1-9ECA-4A23-96C4-52A375E6FAC2}" type="presParOf" srcId="{30DA3D0B-638C-427B-8BB2-C15A902A2B52}" destId="{F62CC3F1-76F5-4FFC-BA41-C6EAEB74E28B}" srcOrd="1" destOrd="0" presId="urn:microsoft.com/office/officeart/2018/2/layout/IconVerticalSolidList"/>
    <dgm:cxn modelId="{CBA99BBA-69FB-4E39-BBEB-C93B9362FEC8}" type="presParOf" srcId="{30DA3D0B-638C-427B-8BB2-C15A902A2B52}" destId="{988A275B-3E8A-491C-9A8B-BAA8F437BB3B}" srcOrd="2" destOrd="0" presId="urn:microsoft.com/office/officeart/2018/2/layout/IconVerticalSolidList"/>
    <dgm:cxn modelId="{17EF2D67-2BD3-44C8-BE9A-F52641FF2C9D}" type="presParOf" srcId="{30DA3D0B-638C-427B-8BB2-C15A902A2B52}" destId="{D8EAE26F-123C-4B06-8961-727F0F20ACA8}" srcOrd="3" destOrd="0" presId="urn:microsoft.com/office/officeart/2018/2/layout/IconVerticalSolidList"/>
    <dgm:cxn modelId="{F0354A74-BB04-4545-A724-76AB3E3C47D8}" type="presParOf" srcId="{099123C1-CABF-4153-9667-6DFF42DA74EC}" destId="{AD6F0381-4E0F-4496-8E1C-D193725D9A1F}" srcOrd="1" destOrd="0" presId="urn:microsoft.com/office/officeart/2018/2/layout/IconVerticalSolidList"/>
    <dgm:cxn modelId="{FBA84430-0EE2-4858-BD2F-94B6166A2259}" type="presParOf" srcId="{099123C1-CABF-4153-9667-6DFF42DA74EC}" destId="{2CC67FE5-02B4-4EA3-A69A-5EE627F90AAA}" srcOrd="2" destOrd="0" presId="urn:microsoft.com/office/officeart/2018/2/layout/IconVerticalSolidList"/>
    <dgm:cxn modelId="{29470A42-11B3-4EC7-B4A7-A4C6A430EF18}" type="presParOf" srcId="{2CC67FE5-02B4-4EA3-A69A-5EE627F90AAA}" destId="{42736B99-B78C-413D-9028-049B6B588770}" srcOrd="0" destOrd="0" presId="urn:microsoft.com/office/officeart/2018/2/layout/IconVerticalSolidList"/>
    <dgm:cxn modelId="{CD516254-5D2F-431C-BA79-E130BC8A2B24}" type="presParOf" srcId="{2CC67FE5-02B4-4EA3-A69A-5EE627F90AAA}" destId="{CA97EAA4-9E3B-4DB3-882F-005FCC6FEEBF}" srcOrd="1" destOrd="0" presId="urn:microsoft.com/office/officeart/2018/2/layout/IconVerticalSolidList"/>
    <dgm:cxn modelId="{CE7E49EB-BC84-457C-85DB-DB82293A05A9}" type="presParOf" srcId="{2CC67FE5-02B4-4EA3-A69A-5EE627F90AAA}" destId="{CEB022A3-4524-4A59-9718-761E21C9CF81}" srcOrd="2" destOrd="0" presId="urn:microsoft.com/office/officeart/2018/2/layout/IconVerticalSolidList"/>
    <dgm:cxn modelId="{2395A3BB-9097-4806-9005-EEA43D0CB70F}" type="presParOf" srcId="{2CC67FE5-02B4-4EA3-A69A-5EE627F90AAA}" destId="{62DEF695-3BEC-4FCC-89F6-FC2B7E9E1DCE}" srcOrd="3" destOrd="0" presId="urn:microsoft.com/office/officeart/2018/2/layout/IconVerticalSolidList"/>
    <dgm:cxn modelId="{543D519D-9606-4DDD-BEBA-84D0CD6B3222}" type="presParOf" srcId="{099123C1-CABF-4153-9667-6DFF42DA74EC}" destId="{310269F8-6C87-4DB8-B0A0-C03E9C74B6FA}" srcOrd="3" destOrd="0" presId="urn:microsoft.com/office/officeart/2018/2/layout/IconVerticalSolidList"/>
    <dgm:cxn modelId="{3442A3EA-1814-49BC-AAD5-620DB0267A29}" type="presParOf" srcId="{099123C1-CABF-4153-9667-6DFF42DA74EC}" destId="{9FAB02DB-C34E-4AAD-B1A4-09D45A1DDAFD}" srcOrd="4" destOrd="0" presId="urn:microsoft.com/office/officeart/2018/2/layout/IconVerticalSolidList"/>
    <dgm:cxn modelId="{34653260-C9A5-4DBA-B504-ED548A0A3117}" type="presParOf" srcId="{9FAB02DB-C34E-4AAD-B1A4-09D45A1DDAFD}" destId="{477CE55C-1E2F-49B3-9F69-C68F6765E249}" srcOrd="0" destOrd="0" presId="urn:microsoft.com/office/officeart/2018/2/layout/IconVerticalSolidList"/>
    <dgm:cxn modelId="{907D62D3-F98E-4F29-8CD9-DB0820DC1DAC}" type="presParOf" srcId="{9FAB02DB-C34E-4AAD-B1A4-09D45A1DDAFD}" destId="{5C7CE1D9-61EA-4230-80AE-0B6C94E54E46}" srcOrd="1" destOrd="0" presId="urn:microsoft.com/office/officeart/2018/2/layout/IconVerticalSolidList"/>
    <dgm:cxn modelId="{432AA9FF-D523-4186-BB06-EEDD0E55921F}" type="presParOf" srcId="{9FAB02DB-C34E-4AAD-B1A4-09D45A1DDAFD}" destId="{3DF16147-0E9D-4087-ABDF-11848C250FFF}" srcOrd="2" destOrd="0" presId="urn:microsoft.com/office/officeart/2018/2/layout/IconVerticalSolidList"/>
    <dgm:cxn modelId="{D4082E87-35C9-4408-9DB2-53CD62C262AB}" type="presParOf" srcId="{9FAB02DB-C34E-4AAD-B1A4-09D45A1DDAFD}" destId="{C5657E4D-B67D-4957-865E-ECBE4EB780AF}" srcOrd="3" destOrd="0" presId="urn:microsoft.com/office/officeart/2018/2/layout/IconVerticalSolidList"/>
    <dgm:cxn modelId="{75FAB64F-EE11-4EB9-B761-BE760AABBAD4}" type="presParOf" srcId="{099123C1-CABF-4153-9667-6DFF42DA74EC}" destId="{CEE102E1-C5FE-4432-9CFE-FBC4B87EBEB1}" srcOrd="5" destOrd="0" presId="urn:microsoft.com/office/officeart/2018/2/layout/IconVerticalSolidList"/>
    <dgm:cxn modelId="{67FB80E0-48F0-451B-A85D-DF18C45237CD}" type="presParOf" srcId="{099123C1-CABF-4153-9667-6DFF42DA74EC}" destId="{2B162402-FE1E-4F74-9E47-FBFD759F9A99}" srcOrd="6" destOrd="0" presId="urn:microsoft.com/office/officeart/2018/2/layout/IconVerticalSolidList"/>
    <dgm:cxn modelId="{9E472BF1-29A4-44F7-8A63-D908ADADDF4C}" type="presParOf" srcId="{2B162402-FE1E-4F74-9E47-FBFD759F9A99}" destId="{7E42E1C3-E2B3-4F34-B7F0-D79D6190642E}" srcOrd="0" destOrd="0" presId="urn:microsoft.com/office/officeart/2018/2/layout/IconVerticalSolidList"/>
    <dgm:cxn modelId="{92829488-EC68-4695-800D-210C499BD824}" type="presParOf" srcId="{2B162402-FE1E-4F74-9E47-FBFD759F9A99}" destId="{3EA79276-BF16-4A68-B1C7-2D9F0C65BFA0}" srcOrd="1" destOrd="0" presId="urn:microsoft.com/office/officeart/2018/2/layout/IconVerticalSolidList"/>
    <dgm:cxn modelId="{FE72B05E-D7B9-4AE2-B4B9-314E3918C038}" type="presParOf" srcId="{2B162402-FE1E-4F74-9E47-FBFD759F9A99}" destId="{7C39D64D-EF0D-4926-8B06-B68823545C81}" srcOrd="2" destOrd="0" presId="urn:microsoft.com/office/officeart/2018/2/layout/IconVerticalSolidList"/>
    <dgm:cxn modelId="{A335CD3D-5CF1-4A7C-B864-758F698F5340}" type="presParOf" srcId="{2B162402-FE1E-4F74-9E47-FBFD759F9A99}" destId="{32ACA3DA-4D80-48DA-9554-983258E0A573}"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5024E98-7A02-4E25-886F-1E191E3260E5}" type="doc">
      <dgm:prSet loTypeId="urn:microsoft.com/office/officeart/2005/8/layout/hList1" loCatId="list" qsTypeId="urn:microsoft.com/office/officeart/2005/8/quickstyle/simple1" qsCatId="simple" csTypeId="urn:microsoft.com/office/officeart/2005/8/colors/colorful3" csCatId="colorful"/>
      <dgm:spPr/>
      <dgm:t>
        <a:bodyPr/>
        <a:lstStyle/>
        <a:p>
          <a:endParaRPr lang="en-US"/>
        </a:p>
      </dgm:t>
    </dgm:pt>
    <dgm:pt modelId="{5E84A0FC-D6BB-4CB3-BFF1-C6F206FE189E}">
      <dgm:prSet custT="1"/>
      <dgm:spPr/>
      <dgm:t>
        <a:bodyPr/>
        <a:lstStyle/>
        <a:p>
          <a:r>
            <a:rPr lang="en-US" sz="2400" baseline="0" dirty="0"/>
            <a:t>Prevention of data disclosure</a:t>
          </a:r>
          <a:endParaRPr lang="en-US" sz="2400" dirty="0"/>
        </a:p>
      </dgm:t>
    </dgm:pt>
    <dgm:pt modelId="{4C01BB6F-A415-48A3-84FC-14609BCC2D0E}" type="parTrans" cxnId="{FC6E7D61-D88B-4D39-9E17-272D841B7DAA}">
      <dgm:prSet/>
      <dgm:spPr/>
      <dgm:t>
        <a:bodyPr/>
        <a:lstStyle/>
        <a:p>
          <a:endParaRPr lang="en-US"/>
        </a:p>
      </dgm:t>
    </dgm:pt>
    <dgm:pt modelId="{652E4F17-6B88-494D-A9BB-757089D162BC}" type="sibTrans" cxnId="{FC6E7D61-D88B-4D39-9E17-272D841B7DAA}">
      <dgm:prSet/>
      <dgm:spPr/>
      <dgm:t>
        <a:bodyPr/>
        <a:lstStyle/>
        <a:p>
          <a:endParaRPr lang="en-US"/>
        </a:p>
      </dgm:t>
    </dgm:pt>
    <dgm:pt modelId="{25F092F1-05F5-4866-8477-4CD942F4E780}">
      <dgm:prSet/>
      <dgm:spPr/>
      <dgm:t>
        <a:bodyPr/>
        <a:lstStyle/>
        <a:p>
          <a:r>
            <a:rPr lang="en-US" baseline="0"/>
            <a:t>Client-side encryption of sensitive data using keys that are never given to database system.</a:t>
          </a:r>
          <a:endParaRPr lang="en-US"/>
        </a:p>
      </dgm:t>
    </dgm:pt>
    <dgm:pt modelId="{77623E62-804E-428E-95F1-AB663DB00F72}" type="parTrans" cxnId="{BD381A9A-A6B1-4EF2-8C1F-5E1378D72A8C}">
      <dgm:prSet/>
      <dgm:spPr/>
      <dgm:t>
        <a:bodyPr/>
        <a:lstStyle/>
        <a:p>
          <a:endParaRPr lang="en-US"/>
        </a:p>
      </dgm:t>
    </dgm:pt>
    <dgm:pt modelId="{A07FA23B-DDBB-4725-AEF4-BEFA5808C9F6}" type="sibTrans" cxnId="{BD381A9A-A6B1-4EF2-8C1F-5E1378D72A8C}">
      <dgm:prSet/>
      <dgm:spPr/>
      <dgm:t>
        <a:bodyPr/>
        <a:lstStyle/>
        <a:p>
          <a:endParaRPr lang="en-US"/>
        </a:p>
      </dgm:t>
    </dgm:pt>
    <dgm:pt modelId="{9563E3E1-EE9D-40CA-A1E3-CA6CA037FFAA}">
      <dgm:prSet custT="1"/>
      <dgm:spPr/>
      <dgm:t>
        <a:bodyPr/>
        <a:lstStyle/>
        <a:p>
          <a:r>
            <a:rPr lang="en-US" sz="2400" baseline="0"/>
            <a:t>Queries on encrypted data</a:t>
          </a:r>
          <a:endParaRPr lang="en-US" sz="2400"/>
        </a:p>
      </dgm:t>
    </dgm:pt>
    <dgm:pt modelId="{4B0A56E1-F0F3-4A6B-9EB1-CE559377AC0D}" type="parTrans" cxnId="{18A3D18E-D0CD-4F7B-82B2-B28ED7B5B532}">
      <dgm:prSet/>
      <dgm:spPr/>
      <dgm:t>
        <a:bodyPr/>
        <a:lstStyle/>
        <a:p>
          <a:endParaRPr lang="en-US"/>
        </a:p>
      </dgm:t>
    </dgm:pt>
    <dgm:pt modelId="{36A3BFC5-2EE6-4AD9-B01D-12FE7FA77F12}" type="sibTrans" cxnId="{18A3D18E-D0CD-4F7B-82B2-B28ED7B5B532}">
      <dgm:prSet/>
      <dgm:spPr/>
      <dgm:t>
        <a:bodyPr/>
        <a:lstStyle/>
        <a:p>
          <a:endParaRPr lang="en-US"/>
        </a:p>
      </dgm:t>
    </dgm:pt>
    <dgm:pt modelId="{58E7747E-D70C-4E29-A5A8-1995ACA5FEE8}">
      <dgm:prSet/>
      <dgm:spPr/>
      <dgm:t>
        <a:bodyPr/>
        <a:lstStyle/>
        <a:p>
          <a:r>
            <a:rPr lang="en-US" baseline="0"/>
            <a:t>Support for equality comparison, including join, group by, and distinct operators</a:t>
          </a:r>
          <a:endParaRPr lang="en-US"/>
        </a:p>
      </dgm:t>
    </dgm:pt>
    <dgm:pt modelId="{34B8299A-2018-4676-B51D-B1C4E0B7AE7B}" type="parTrans" cxnId="{7C8F1617-2973-420D-8474-79363212F79C}">
      <dgm:prSet/>
      <dgm:spPr/>
      <dgm:t>
        <a:bodyPr/>
        <a:lstStyle/>
        <a:p>
          <a:endParaRPr lang="en-US"/>
        </a:p>
      </dgm:t>
    </dgm:pt>
    <dgm:pt modelId="{57F38570-C82A-498B-8458-D9E77BF3D0AA}" type="sibTrans" cxnId="{7C8F1617-2973-420D-8474-79363212F79C}">
      <dgm:prSet/>
      <dgm:spPr/>
      <dgm:t>
        <a:bodyPr/>
        <a:lstStyle/>
        <a:p>
          <a:endParaRPr lang="en-US"/>
        </a:p>
      </dgm:t>
    </dgm:pt>
    <dgm:pt modelId="{17BE5C04-1951-4B70-9B7B-15E82FF2D842}">
      <dgm:prSet custT="1"/>
      <dgm:spPr/>
      <dgm:t>
        <a:bodyPr/>
        <a:lstStyle/>
        <a:p>
          <a:r>
            <a:rPr lang="en-US" sz="2400" baseline="0"/>
            <a:t>Application transparency</a:t>
          </a:r>
          <a:endParaRPr lang="en-US" sz="2400"/>
        </a:p>
      </dgm:t>
    </dgm:pt>
    <dgm:pt modelId="{08A1C3C5-4A14-4884-B0B6-8AC9A2A0DC75}" type="parTrans" cxnId="{99BFFC83-0829-4452-8B8E-88360E9522AF}">
      <dgm:prSet/>
      <dgm:spPr/>
      <dgm:t>
        <a:bodyPr/>
        <a:lstStyle/>
        <a:p>
          <a:endParaRPr lang="en-US"/>
        </a:p>
      </dgm:t>
    </dgm:pt>
    <dgm:pt modelId="{34491A9D-EAAE-4CFD-BB0E-2D185043F2B7}" type="sibTrans" cxnId="{99BFFC83-0829-4452-8B8E-88360E9522AF}">
      <dgm:prSet/>
      <dgm:spPr/>
      <dgm:t>
        <a:bodyPr/>
        <a:lstStyle/>
        <a:p>
          <a:endParaRPr lang="en-US"/>
        </a:p>
      </dgm:t>
    </dgm:pt>
    <dgm:pt modelId="{66204260-F8D9-4A32-A6B8-E94997BCD229}">
      <dgm:prSet/>
      <dgm:spPr/>
      <dgm:t>
        <a:bodyPr/>
        <a:lstStyle/>
        <a:p>
          <a:r>
            <a:rPr lang="en-US" baseline="0"/>
            <a:t>Minimal application changes through server and client library enhancements</a:t>
          </a:r>
          <a:endParaRPr lang="en-US"/>
        </a:p>
      </dgm:t>
    </dgm:pt>
    <dgm:pt modelId="{781F97C7-2BC4-4E73-9A7D-95683503B73E}" type="parTrans" cxnId="{48BCEFCA-AB85-443F-A5AA-BEDAF135AA63}">
      <dgm:prSet/>
      <dgm:spPr/>
      <dgm:t>
        <a:bodyPr/>
        <a:lstStyle/>
        <a:p>
          <a:endParaRPr lang="en-US"/>
        </a:p>
      </dgm:t>
    </dgm:pt>
    <dgm:pt modelId="{713CA77E-0778-4267-BC38-B953A1402A50}" type="sibTrans" cxnId="{48BCEFCA-AB85-443F-A5AA-BEDAF135AA63}">
      <dgm:prSet/>
      <dgm:spPr/>
      <dgm:t>
        <a:bodyPr/>
        <a:lstStyle/>
        <a:p>
          <a:endParaRPr lang="en-US"/>
        </a:p>
      </dgm:t>
    </dgm:pt>
    <dgm:pt modelId="{BEDD8A68-99CC-4DC6-A9C8-B23ECFE28A63}" type="pres">
      <dgm:prSet presAssocID="{C5024E98-7A02-4E25-886F-1E191E3260E5}" presName="Name0" presStyleCnt="0">
        <dgm:presLayoutVars>
          <dgm:dir/>
          <dgm:animLvl val="lvl"/>
          <dgm:resizeHandles val="exact"/>
        </dgm:presLayoutVars>
      </dgm:prSet>
      <dgm:spPr/>
    </dgm:pt>
    <dgm:pt modelId="{BEF5DEB4-EE89-4775-B8EA-69A54678C8E0}" type="pres">
      <dgm:prSet presAssocID="{5E84A0FC-D6BB-4CB3-BFF1-C6F206FE189E}" presName="composite" presStyleCnt="0"/>
      <dgm:spPr/>
    </dgm:pt>
    <dgm:pt modelId="{BF4D75BD-9FDC-4141-B46A-97441BCDF33A}" type="pres">
      <dgm:prSet presAssocID="{5E84A0FC-D6BB-4CB3-BFF1-C6F206FE189E}" presName="parTx" presStyleLbl="alignNode1" presStyleIdx="0" presStyleCnt="3">
        <dgm:presLayoutVars>
          <dgm:chMax val="0"/>
          <dgm:chPref val="0"/>
          <dgm:bulletEnabled val="1"/>
        </dgm:presLayoutVars>
      </dgm:prSet>
      <dgm:spPr/>
    </dgm:pt>
    <dgm:pt modelId="{5AF482D2-30D0-4D64-8CC6-F7BE63D57259}" type="pres">
      <dgm:prSet presAssocID="{5E84A0FC-D6BB-4CB3-BFF1-C6F206FE189E}" presName="desTx" presStyleLbl="alignAccFollowNode1" presStyleIdx="0" presStyleCnt="3">
        <dgm:presLayoutVars>
          <dgm:bulletEnabled val="1"/>
        </dgm:presLayoutVars>
      </dgm:prSet>
      <dgm:spPr/>
    </dgm:pt>
    <dgm:pt modelId="{3ED5009B-28C9-4685-829D-5DF525B08659}" type="pres">
      <dgm:prSet presAssocID="{652E4F17-6B88-494D-A9BB-757089D162BC}" presName="space" presStyleCnt="0"/>
      <dgm:spPr/>
    </dgm:pt>
    <dgm:pt modelId="{000696DD-9156-483B-8C2B-DFB8A3B4BCA4}" type="pres">
      <dgm:prSet presAssocID="{9563E3E1-EE9D-40CA-A1E3-CA6CA037FFAA}" presName="composite" presStyleCnt="0"/>
      <dgm:spPr/>
    </dgm:pt>
    <dgm:pt modelId="{C569CFEB-6885-4864-93AB-40D0E93963A0}" type="pres">
      <dgm:prSet presAssocID="{9563E3E1-EE9D-40CA-A1E3-CA6CA037FFAA}" presName="parTx" presStyleLbl="alignNode1" presStyleIdx="1" presStyleCnt="3">
        <dgm:presLayoutVars>
          <dgm:chMax val="0"/>
          <dgm:chPref val="0"/>
          <dgm:bulletEnabled val="1"/>
        </dgm:presLayoutVars>
      </dgm:prSet>
      <dgm:spPr/>
    </dgm:pt>
    <dgm:pt modelId="{13484473-4851-48EC-8924-9E35DFFD0971}" type="pres">
      <dgm:prSet presAssocID="{9563E3E1-EE9D-40CA-A1E3-CA6CA037FFAA}" presName="desTx" presStyleLbl="alignAccFollowNode1" presStyleIdx="1" presStyleCnt="3">
        <dgm:presLayoutVars>
          <dgm:bulletEnabled val="1"/>
        </dgm:presLayoutVars>
      </dgm:prSet>
      <dgm:spPr/>
    </dgm:pt>
    <dgm:pt modelId="{CDF60163-D935-4768-A034-1B0FAA61F0CC}" type="pres">
      <dgm:prSet presAssocID="{36A3BFC5-2EE6-4AD9-B01D-12FE7FA77F12}" presName="space" presStyleCnt="0"/>
      <dgm:spPr/>
    </dgm:pt>
    <dgm:pt modelId="{71D732E0-2F86-4BD5-A2DB-1481AF683939}" type="pres">
      <dgm:prSet presAssocID="{17BE5C04-1951-4B70-9B7B-15E82FF2D842}" presName="composite" presStyleCnt="0"/>
      <dgm:spPr/>
    </dgm:pt>
    <dgm:pt modelId="{D3A10147-43BF-4A76-973D-FA579AC4A8A2}" type="pres">
      <dgm:prSet presAssocID="{17BE5C04-1951-4B70-9B7B-15E82FF2D842}" presName="parTx" presStyleLbl="alignNode1" presStyleIdx="2" presStyleCnt="3">
        <dgm:presLayoutVars>
          <dgm:chMax val="0"/>
          <dgm:chPref val="0"/>
          <dgm:bulletEnabled val="1"/>
        </dgm:presLayoutVars>
      </dgm:prSet>
      <dgm:spPr/>
    </dgm:pt>
    <dgm:pt modelId="{8D90133C-4272-4135-9F73-1E67A4155A33}" type="pres">
      <dgm:prSet presAssocID="{17BE5C04-1951-4B70-9B7B-15E82FF2D842}" presName="desTx" presStyleLbl="alignAccFollowNode1" presStyleIdx="2" presStyleCnt="3">
        <dgm:presLayoutVars>
          <dgm:bulletEnabled val="1"/>
        </dgm:presLayoutVars>
      </dgm:prSet>
      <dgm:spPr/>
    </dgm:pt>
  </dgm:ptLst>
  <dgm:cxnLst>
    <dgm:cxn modelId="{7C8F1617-2973-420D-8474-79363212F79C}" srcId="{9563E3E1-EE9D-40CA-A1E3-CA6CA037FFAA}" destId="{58E7747E-D70C-4E29-A5A8-1995ACA5FEE8}" srcOrd="0" destOrd="0" parTransId="{34B8299A-2018-4676-B51D-B1C4E0B7AE7B}" sibTransId="{57F38570-C82A-498B-8458-D9E77BF3D0AA}"/>
    <dgm:cxn modelId="{FC6E7D61-D88B-4D39-9E17-272D841B7DAA}" srcId="{C5024E98-7A02-4E25-886F-1E191E3260E5}" destId="{5E84A0FC-D6BB-4CB3-BFF1-C6F206FE189E}" srcOrd="0" destOrd="0" parTransId="{4C01BB6F-A415-48A3-84FC-14609BCC2D0E}" sibTransId="{652E4F17-6B88-494D-A9BB-757089D162BC}"/>
    <dgm:cxn modelId="{3C28AA44-3E0F-440B-A3CF-AD01CC99CE9A}" type="presOf" srcId="{17BE5C04-1951-4B70-9B7B-15E82FF2D842}" destId="{D3A10147-43BF-4A76-973D-FA579AC4A8A2}" srcOrd="0" destOrd="0" presId="urn:microsoft.com/office/officeart/2005/8/layout/hList1"/>
    <dgm:cxn modelId="{27AC0165-55D4-4F3C-9E76-E64BBAB58D1B}" type="presOf" srcId="{58E7747E-D70C-4E29-A5A8-1995ACA5FEE8}" destId="{13484473-4851-48EC-8924-9E35DFFD0971}" srcOrd="0" destOrd="0" presId="urn:microsoft.com/office/officeart/2005/8/layout/hList1"/>
    <dgm:cxn modelId="{88402059-1EDD-428F-9188-4E20CA2D593A}" type="presOf" srcId="{9563E3E1-EE9D-40CA-A1E3-CA6CA037FFAA}" destId="{C569CFEB-6885-4864-93AB-40D0E93963A0}" srcOrd="0" destOrd="0" presId="urn:microsoft.com/office/officeart/2005/8/layout/hList1"/>
    <dgm:cxn modelId="{99BFFC83-0829-4452-8B8E-88360E9522AF}" srcId="{C5024E98-7A02-4E25-886F-1E191E3260E5}" destId="{17BE5C04-1951-4B70-9B7B-15E82FF2D842}" srcOrd="2" destOrd="0" parTransId="{08A1C3C5-4A14-4884-B0B6-8AC9A2A0DC75}" sibTransId="{34491A9D-EAAE-4CFD-BB0E-2D185043F2B7}"/>
    <dgm:cxn modelId="{18A3D18E-D0CD-4F7B-82B2-B28ED7B5B532}" srcId="{C5024E98-7A02-4E25-886F-1E191E3260E5}" destId="{9563E3E1-EE9D-40CA-A1E3-CA6CA037FFAA}" srcOrd="1" destOrd="0" parTransId="{4B0A56E1-F0F3-4A6B-9EB1-CE559377AC0D}" sibTransId="{36A3BFC5-2EE6-4AD9-B01D-12FE7FA77F12}"/>
    <dgm:cxn modelId="{BD381A9A-A6B1-4EF2-8C1F-5E1378D72A8C}" srcId="{5E84A0FC-D6BB-4CB3-BFF1-C6F206FE189E}" destId="{25F092F1-05F5-4866-8477-4CD942F4E780}" srcOrd="0" destOrd="0" parTransId="{77623E62-804E-428E-95F1-AB663DB00F72}" sibTransId="{A07FA23B-DDBB-4725-AEF4-BEFA5808C9F6}"/>
    <dgm:cxn modelId="{77D66DA5-B5D3-42B9-A242-44EEEA62DCB5}" type="presOf" srcId="{5E84A0FC-D6BB-4CB3-BFF1-C6F206FE189E}" destId="{BF4D75BD-9FDC-4141-B46A-97441BCDF33A}" srcOrd="0" destOrd="0" presId="urn:microsoft.com/office/officeart/2005/8/layout/hList1"/>
    <dgm:cxn modelId="{8CD00FB4-0DCC-4297-9210-21FA36D0F98D}" type="presOf" srcId="{C5024E98-7A02-4E25-886F-1E191E3260E5}" destId="{BEDD8A68-99CC-4DC6-A9C8-B23ECFE28A63}" srcOrd="0" destOrd="0" presId="urn:microsoft.com/office/officeart/2005/8/layout/hList1"/>
    <dgm:cxn modelId="{48BCEFCA-AB85-443F-A5AA-BEDAF135AA63}" srcId="{17BE5C04-1951-4B70-9B7B-15E82FF2D842}" destId="{66204260-F8D9-4A32-A6B8-E94997BCD229}" srcOrd="0" destOrd="0" parTransId="{781F97C7-2BC4-4E73-9A7D-95683503B73E}" sibTransId="{713CA77E-0778-4267-BC38-B953A1402A50}"/>
    <dgm:cxn modelId="{5EAA22EB-CC7F-45F8-A969-94639345FB6D}" type="presOf" srcId="{66204260-F8D9-4A32-A6B8-E94997BCD229}" destId="{8D90133C-4272-4135-9F73-1E67A4155A33}" srcOrd="0" destOrd="0" presId="urn:microsoft.com/office/officeart/2005/8/layout/hList1"/>
    <dgm:cxn modelId="{1754DEF8-010F-4545-ABFA-1D27B879C256}" type="presOf" srcId="{25F092F1-05F5-4866-8477-4CD942F4E780}" destId="{5AF482D2-30D0-4D64-8CC6-F7BE63D57259}" srcOrd="0" destOrd="0" presId="urn:microsoft.com/office/officeart/2005/8/layout/hList1"/>
    <dgm:cxn modelId="{D0EC0DFE-2545-487F-8737-9FB16F5AF0F4}" type="presParOf" srcId="{BEDD8A68-99CC-4DC6-A9C8-B23ECFE28A63}" destId="{BEF5DEB4-EE89-4775-B8EA-69A54678C8E0}" srcOrd="0" destOrd="0" presId="urn:microsoft.com/office/officeart/2005/8/layout/hList1"/>
    <dgm:cxn modelId="{72B85150-4401-4142-BAE5-4A1FE1F35EAE}" type="presParOf" srcId="{BEF5DEB4-EE89-4775-B8EA-69A54678C8E0}" destId="{BF4D75BD-9FDC-4141-B46A-97441BCDF33A}" srcOrd="0" destOrd="0" presId="urn:microsoft.com/office/officeart/2005/8/layout/hList1"/>
    <dgm:cxn modelId="{2D261D2B-F005-4A30-8A42-D86AD7E8239D}" type="presParOf" srcId="{BEF5DEB4-EE89-4775-B8EA-69A54678C8E0}" destId="{5AF482D2-30D0-4D64-8CC6-F7BE63D57259}" srcOrd="1" destOrd="0" presId="urn:microsoft.com/office/officeart/2005/8/layout/hList1"/>
    <dgm:cxn modelId="{18D0E928-F09A-4A00-9474-4F8C22444724}" type="presParOf" srcId="{BEDD8A68-99CC-4DC6-A9C8-B23ECFE28A63}" destId="{3ED5009B-28C9-4685-829D-5DF525B08659}" srcOrd="1" destOrd="0" presId="urn:microsoft.com/office/officeart/2005/8/layout/hList1"/>
    <dgm:cxn modelId="{E7A20D69-569D-449B-8108-5D80C307D830}" type="presParOf" srcId="{BEDD8A68-99CC-4DC6-A9C8-B23ECFE28A63}" destId="{000696DD-9156-483B-8C2B-DFB8A3B4BCA4}" srcOrd="2" destOrd="0" presId="urn:microsoft.com/office/officeart/2005/8/layout/hList1"/>
    <dgm:cxn modelId="{3584DBE9-8186-4970-8CBD-012CAA9A8AA8}" type="presParOf" srcId="{000696DD-9156-483B-8C2B-DFB8A3B4BCA4}" destId="{C569CFEB-6885-4864-93AB-40D0E93963A0}" srcOrd="0" destOrd="0" presId="urn:microsoft.com/office/officeart/2005/8/layout/hList1"/>
    <dgm:cxn modelId="{27B08976-23F7-48FC-A425-E8AF608FFB17}" type="presParOf" srcId="{000696DD-9156-483B-8C2B-DFB8A3B4BCA4}" destId="{13484473-4851-48EC-8924-9E35DFFD0971}" srcOrd="1" destOrd="0" presId="urn:microsoft.com/office/officeart/2005/8/layout/hList1"/>
    <dgm:cxn modelId="{AA163DE8-64B1-44E7-BA3C-BECE4F5EF18D}" type="presParOf" srcId="{BEDD8A68-99CC-4DC6-A9C8-B23ECFE28A63}" destId="{CDF60163-D935-4768-A034-1B0FAA61F0CC}" srcOrd="3" destOrd="0" presId="urn:microsoft.com/office/officeart/2005/8/layout/hList1"/>
    <dgm:cxn modelId="{E86E8AA7-3AC7-41B0-A442-6F74D69BF196}" type="presParOf" srcId="{BEDD8A68-99CC-4DC6-A9C8-B23ECFE28A63}" destId="{71D732E0-2F86-4BD5-A2DB-1481AF683939}" srcOrd="4" destOrd="0" presId="urn:microsoft.com/office/officeart/2005/8/layout/hList1"/>
    <dgm:cxn modelId="{A8815366-8FEF-4696-9A3E-D51F2D9619EB}" type="presParOf" srcId="{71D732E0-2F86-4BD5-A2DB-1481AF683939}" destId="{D3A10147-43BF-4A76-973D-FA579AC4A8A2}" srcOrd="0" destOrd="0" presId="urn:microsoft.com/office/officeart/2005/8/layout/hList1"/>
    <dgm:cxn modelId="{0B41E662-F0B3-4A43-A7D4-EAEE4ED97A5F}" type="presParOf" srcId="{71D732E0-2F86-4BD5-A2DB-1481AF683939}" destId="{8D90133C-4272-4135-9F73-1E67A4155A3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94EC516-2E06-410A-890C-387ABF74C02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AF45B76-7B63-47A1-8578-3EF191F31031}">
      <dgm:prSet custT="1"/>
      <dgm:spPr/>
      <dgm:t>
        <a:bodyPr/>
        <a:lstStyle/>
        <a:p>
          <a:r>
            <a:rPr lang="en-US" sz="2400" baseline="0" dirty="0"/>
            <a:t>Allows customers to securely store sensitive data outside of their trust boundary while protecting data from highly privileged users.</a:t>
          </a:r>
          <a:endParaRPr lang="en-US" sz="2400" dirty="0"/>
        </a:p>
      </dgm:t>
    </dgm:pt>
    <dgm:pt modelId="{FCE50006-BB03-4373-AF06-634AE826AFDE}" type="parTrans" cxnId="{25D7DDA3-8AF6-4CAB-AD60-1313D5035234}">
      <dgm:prSet/>
      <dgm:spPr/>
      <dgm:t>
        <a:bodyPr/>
        <a:lstStyle/>
        <a:p>
          <a:endParaRPr lang="en-US"/>
        </a:p>
      </dgm:t>
    </dgm:pt>
    <dgm:pt modelId="{C319964D-5449-4533-8386-B6D9E2829B66}" type="sibTrans" cxnId="{25D7DDA3-8AF6-4CAB-AD60-1313D5035234}">
      <dgm:prSet/>
      <dgm:spPr/>
      <dgm:t>
        <a:bodyPr/>
        <a:lstStyle/>
        <a:p>
          <a:endParaRPr lang="en-US"/>
        </a:p>
      </dgm:t>
    </dgm:pt>
    <dgm:pt modelId="{11C4127E-7848-42D3-A382-47A83B6BEAEC}" type="pres">
      <dgm:prSet presAssocID="{F94EC516-2E06-410A-890C-387ABF74C020}" presName="linear" presStyleCnt="0">
        <dgm:presLayoutVars>
          <dgm:animLvl val="lvl"/>
          <dgm:resizeHandles val="exact"/>
        </dgm:presLayoutVars>
      </dgm:prSet>
      <dgm:spPr/>
    </dgm:pt>
    <dgm:pt modelId="{C2CFC071-9835-4C39-9D16-0928877238E1}" type="pres">
      <dgm:prSet presAssocID="{FAF45B76-7B63-47A1-8578-3EF191F31031}" presName="parentText" presStyleLbl="node1" presStyleIdx="0" presStyleCnt="1">
        <dgm:presLayoutVars>
          <dgm:chMax val="0"/>
          <dgm:bulletEnabled val="1"/>
        </dgm:presLayoutVars>
      </dgm:prSet>
      <dgm:spPr/>
    </dgm:pt>
  </dgm:ptLst>
  <dgm:cxnLst>
    <dgm:cxn modelId="{67C21D23-0B1C-4CC1-A266-EAC9051847B3}" type="presOf" srcId="{FAF45B76-7B63-47A1-8578-3EF191F31031}" destId="{C2CFC071-9835-4C39-9D16-0928877238E1}" srcOrd="0" destOrd="0" presId="urn:microsoft.com/office/officeart/2005/8/layout/vList2"/>
    <dgm:cxn modelId="{25D7DDA3-8AF6-4CAB-AD60-1313D5035234}" srcId="{F94EC516-2E06-410A-890C-387ABF74C020}" destId="{FAF45B76-7B63-47A1-8578-3EF191F31031}" srcOrd="0" destOrd="0" parTransId="{FCE50006-BB03-4373-AF06-634AE826AFDE}" sibTransId="{C319964D-5449-4533-8386-B6D9E2829B66}"/>
    <dgm:cxn modelId="{547E88F5-9F35-4F02-9020-4C5435BAA4DF}" type="presOf" srcId="{F94EC516-2E06-410A-890C-387ABF74C020}" destId="{11C4127E-7848-42D3-A382-47A83B6BEAEC}" srcOrd="0" destOrd="0" presId="urn:microsoft.com/office/officeart/2005/8/layout/vList2"/>
    <dgm:cxn modelId="{F873EB80-BAA5-4308-B1B3-D8C8B7F37E82}" type="presParOf" srcId="{11C4127E-7848-42D3-A382-47A83B6BEAEC}" destId="{C2CFC071-9835-4C39-9D16-0928877238E1}"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82641C2-A094-4D38-BB11-407AFC90E4AC}"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FD220F3B-772A-4C36-BDD0-2AEA3F437D1F}">
      <dgm:prSet custT="1"/>
      <dgm:spPr/>
      <dgm:t>
        <a:bodyPr/>
        <a:lstStyle/>
        <a:p>
          <a:r>
            <a:rPr lang="en-US" sz="2400" baseline="0"/>
            <a:t>Capability</a:t>
          </a:r>
          <a:endParaRPr lang="en-US" sz="2400"/>
        </a:p>
      </dgm:t>
    </dgm:pt>
    <dgm:pt modelId="{27771F95-0827-477E-8DA1-5D24772282F8}" type="parTrans" cxnId="{B6EF01AE-9B4B-48E0-A8A0-5CFEEAC2EC2B}">
      <dgm:prSet/>
      <dgm:spPr/>
      <dgm:t>
        <a:bodyPr/>
        <a:lstStyle/>
        <a:p>
          <a:endParaRPr lang="en-US"/>
        </a:p>
      </dgm:t>
    </dgm:pt>
    <dgm:pt modelId="{E817510F-3E1F-487E-8505-246DF7991E37}" type="sibTrans" cxnId="{B6EF01AE-9B4B-48E0-A8A0-5CFEEAC2EC2B}">
      <dgm:prSet/>
      <dgm:spPr/>
      <dgm:t>
        <a:bodyPr/>
        <a:lstStyle/>
        <a:p>
          <a:endParaRPr lang="en-US"/>
        </a:p>
      </dgm:t>
    </dgm:pt>
    <dgm:pt modelId="{3A4C31ED-F133-42F3-A48C-255985EBB7E5}">
      <dgm:prSet/>
      <dgm:spPr/>
      <dgm:t>
        <a:bodyPr/>
        <a:lstStyle/>
        <a:p>
          <a:r>
            <a:rPr lang="en-US" baseline="0"/>
            <a:t>The ADO.NET client library provides transparent client-side encryption</a:t>
          </a:r>
          <a:endParaRPr lang="en-US"/>
        </a:p>
      </dgm:t>
    </dgm:pt>
    <dgm:pt modelId="{644AA738-A873-475F-8B77-A745F9253755}" type="parTrans" cxnId="{F60101D5-6A67-4DC7-A027-DBFE2B0C9C1C}">
      <dgm:prSet/>
      <dgm:spPr/>
      <dgm:t>
        <a:bodyPr/>
        <a:lstStyle/>
        <a:p>
          <a:endParaRPr lang="en-US"/>
        </a:p>
      </dgm:t>
    </dgm:pt>
    <dgm:pt modelId="{4593E642-12CB-4A4D-8005-F26C0012D299}" type="sibTrans" cxnId="{F60101D5-6A67-4DC7-A027-DBFE2B0C9C1C}">
      <dgm:prSet/>
      <dgm:spPr/>
      <dgm:t>
        <a:bodyPr/>
        <a:lstStyle/>
        <a:p>
          <a:endParaRPr lang="en-US"/>
        </a:p>
      </dgm:t>
    </dgm:pt>
    <dgm:pt modelId="{75268365-68D6-43A3-852C-4D2D08AD9A0F}">
      <dgm:prSet/>
      <dgm:spPr/>
      <dgm:t>
        <a:bodyPr/>
        <a:lstStyle/>
        <a:p>
          <a:r>
            <a:rPr lang="en-US" baseline="0"/>
            <a:t>Microsoft SQL Server executes T-SQL queries on encrypted data</a:t>
          </a:r>
          <a:endParaRPr lang="en-US"/>
        </a:p>
      </dgm:t>
    </dgm:pt>
    <dgm:pt modelId="{41971B48-D5FA-4BA9-ABF4-80C641F20533}" type="parTrans" cxnId="{16E96242-35D4-4D4B-B563-352034A2C08E}">
      <dgm:prSet/>
      <dgm:spPr/>
      <dgm:t>
        <a:bodyPr/>
        <a:lstStyle/>
        <a:p>
          <a:endParaRPr lang="en-US"/>
        </a:p>
      </dgm:t>
    </dgm:pt>
    <dgm:pt modelId="{9F66A8CB-301E-4FD4-8104-CBB5996CB680}" type="sibTrans" cxnId="{16E96242-35D4-4D4B-B563-352034A2C08E}">
      <dgm:prSet/>
      <dgm:spPr/>
      <dgm:t>
        <a:bodyPr/>
        <a:lstStyle/>
        <a:p>
          <a:endParaRPr lang="en-US"/>
        </a:p>
      </dgm:t>
    </dgm:pt>
    <dgm:pt modelId="{EBEBAC0F-E81A-4837-BC74-877F05C477E7}">
      <dgm:prSet custT="1"/>
      <dgm:spPr/>
      <dgm:t>
        <a:bodyPr/>
        <a:lstStyle/>
        <a:p>
          <a:r>
            <a:rPr lang="en-US" sz="2400" baseline="0"/>
            <a:t>Benefits</a:t>
          </a:r>
          <a:endParaRPr lang="en-US" sz="2400"/>
        </a:p>
      </dgm:t>
    </dgm:pt>
    <dgm:pt modelId="{F30BC659-B96B-42F3-8FBB-DC9D0EC3ABBD}" type="parTrans" cxnId="{16787F53-FBA9-4142-9F85-44CAED6E59AB}">
      <dgm:prSet/>
      <dgm:spPr/>
      <dgm:t>
        <a:bodyPr/>
        <a:lstStyle/>
        <a:p>
          <a:endParaRPr lang="en-US"/>
        </a:p>
      </dgm:t>
    </dgm:pt>
    <dgm:pt modelId="{ADFE51AE-E8CE-4A10-9CA6-B3985CA8BBA1}" type="sibTrans" cxnId="{16787F53-FBA9-4142-9F85-44CAED6E59AB}">
      <dgm:prSet/>
      <dgm:spPr/>
      <dgm:t>
        <a:bodyPr/>
        <a:lstStyle/>
        <a:p>
          <a:endParaRPr lang="en-US"/>
        </a:p>
      </dgm:t>
    </dgm:pt>
    <dgm:pt modelId="{83BF6A80-1849-4606-9187-9EB49E2DD082}">
      <dgm:prSet/>
      <dgm:spPr/>
      <dgm:t>
        <a:bodyPr/>
        <a:lstStyle/>
        <a:p>
          <a:r>
            <a:rPr lang="en-US" baseline="0" dirty="0"/>
            <a:t>Sensitive data remains encrypted and can be queried on-premises and in the cloud</a:t>
          </a:r>
          <a:endParaRPr lang="en-US" dirty="0"/>
        </a:p>
      </dgm:t>
    </dgm:pt>
    <dgm:pt modelId="{CA8FB9A8-A520-40CD-B04E-2E990314D94F}" type="parTrans" cxnId="{941CA10D-3330-4267-9C37-0EEAEFCA6463}">
      <dgm:prSet/>
      <dgm:spPr/>
      <dgm:t>
        <a:bodyPr/>
        <a:lstStyle/>
        <a:p>
          <a:endParaRPr lang="en-US"/>
        </a:p>
      </dgm:t>
    </dgm:pt>
    <dgm:pt modelId="{2A16EF3D-64A9-4FBE-8CE3-03557DCA291A}" type="sibTrans" cxnId="{941CA10D-3330-4267-9C37-0EEAEFCA6463}">
      <dgm:prSet/>
      <dgm:spPr/>
      <dgm:t>
        <a:bodyPr/>
        <a:lstStyle/>
        <a:p>
          <a:endParaRPr lang="en-US"/>
        </a:p>
      </dgm:t>
    </dgm:pt>
    <dgm:pt modelId="{D7C4D328-DA8F-4F55-B840-B62DC113D3B2}">
      <dgm:prSet/>
      <dgm:spPr/>
      <dgm:t>
        <a:bodyPr/>
        <a:lstStyle/>
        <a:p>
          <a:r>
            <a:rPr lang="en-US" baseline="0" dirty="0"/>
            <a:t>Unauthorized users never have access to data or keys</a:t>
          </a:r>
          <a:endParaRPr lang="en-US" dirty="0"/>
        </a:p>
      </dgm:t>
    </dgm:pt>
    <dgm:pt modelId="{FD4D897C-C2F2-4D1A-B3AD-6FF820C2A487}" type="parTrans" cxnId="{25F49B04-6F64-432D-B4FB-D4026E9ECF9F}">
      <dgm:prSet/>
      <dgm:spPr/>
      <dgm:t>
        <a:bodyPr/>
        <a:lstStyle/>
        <a:p>
          <a:endParaRPr lang="en-US"/>
        </a:p>
      </dgm:t>
    </dgm:pt>
    <dgm:pt modelId="{7B75D339-AB24-49C6-A30F-F91C5C0B7AC9}" type="sibTrans" cxnId="{25F49B04-6F64-432D-B4FB-D4026E9ECF9F}">
      <dgm:prSet/>
      <dgm:spPr/>
      <dgm:t>
        <a:bodyPr/>
        <a:lstStyle/>
        <a:p>
          <a:endParaRPr lang="en-US"/>
        </a:p>
      </dgm:t>
    </dgm:pt>
    <dgm:pt modelId="{B13E4771-35DB-4FF9-AAAA-95707E2B59E0}">
      <dgm:prSet/>
      <dgm:spPr/>
      <dgm:t>
        <a:bodyPr/>
        <a:lstStyle/>
        <a:p>
          <a:r>
            <a:rPr lang="en-US" baseline="0" dirty="0"/>
            <a:t>No application changes  </a:t>
          </a:r>
          <a:endParaRPr lang="en-US" dirty="0"/>
        </a:p>
      </dgm:t>
    </dgm:pt>
    <dgm:pt modelId="{27AD06D0-FFBB-4F0A-8AE3-B84444EEB820}" type="parTrans" cxnId="{E97FED07-828F-48F8-9B8D-FADE7A93D2D0}">
      <dgm:prSet/>
      <dgm:spPr/>
      <dgm:t>
        <a:bodyPr/>
        <a:lstStyle/>
        <a:p>
          <a:endParaRPr lang="en-US"/>
        </a:p>
      </dgm:t>
    </dgm:pt>
    <dgm:pt modelId="{F4ABE700-58B2-4D9E-8AF8-94919ED2B5C9}" type="sibTrans" cxnId="{E97FED07-828F-48F8-9B8D-FADE7A93D2D0}">
      <dgm:prSet/>
      <dgm:spPr/>
      <dgm:t>
        <a:bodyPr/>
        <a:lstStyle/>
        <a:p>
          <a:endParaRPr lang="en-US"/>
        </a:p>
      </dgm:t>
    </dgm:pt>
    <dgm:pt modelId="{D026C20D-032F-4B31-AA25-6E9A47807F4F}" type="pres">
      <dgm:prSet presAssocID="{982641C2-A094-4D38-BB11-407AFC90E4AC}" presName="linear" presStyleCnt="0">
        <dgm:presLayoutVars>
          <dgm:animLvl val="lvl"/>
          <dgm:resizeHandles val="exact"/>
        </dgm:presLayoutVars>
      </dgm:prSet>
      <dgm:spPr/>
    </dgm:pt>
    <dgm:pt modelId="{E6AA28EE-A740-4EBA-847A-0D85A18312D3}" type="pres">
      <dgm:prSet presAssocID="{FD220F3B-772A-4C36-BDD0-2AEA3F437D1F}" presName="parentText" presStyleLbl="node1" presStyleIdx="0" presStyleCnt="2">
        <dgm:presLayoutVars>
          <dgm:chMax val="0"/>
          <dgm:bulletEnabled val="1"/>
        </dgm:presLayoutVars>
      </dgm:prSet>
      <dgm:spPr/>
    </dgm:pt>
    <dgm:pt modelId="{2CE60CE3-C912-4F04-A89A-7FA5103BBEEC}" type="pres">
      <dgm:prSet presAssocID="{FD220F3B-772A-4C36-BDD0-2AEA3F437D1F}" presName="childText" presStyleLbl="revTx" presStyleIdx="0" presStyleCnt="2">
        <dgm:presLayoutVars>
          <dgm:bulletEnabled val="1"/>
        </dgm:presLayoutVars>
      </dgm:prSet>
      <dgm:spPr/>
    </dgm:pt>
    <dgm:pt modelId="{BF5CC69C-AB2F-4C50-8B0A-B250A6DFC5DA}" type="pres">
      <dgm:prSet presAssocID="{EBEBAC0F-E81A-4837-BC74-877F05C477E7}" presName="parentText" presStyleLbl="node1" presStyleIdx="1" presStyleCnt="2">
        <dgm:presLayoutVars>
          <dgm:chMax val="0"/>
          <dgm:bulletEnabled val="1"/>
        </dgm:presLayoutVars>
      </dgm:prSet>
      <dgm:spPr/>
    </dgm:pt>
    <dgm:pt modelId="{19BF634A-98D8-4801-8C83-4EB8A444225E}" type="pres">
      <dgm:prSet presAssocID="{EBEBAC0F-E81A-4837-BC74-877F05C477E7}" presName="childText" presStyleLbl="revTx" presStyleIdx="1" presStyleCnt="2">
        <dgm:presLayoutVars>
          <dgm:bulletEnabled val="1"/>
        </dgm:presLayoutVars>
      </dgm:prSet>
      <dgm:spPr/>
    </dgm:pt>
  </dgm:ptLst>
  <dgm:cxnLst>
    <dgm:cxn modelId="{21B49504-4A8A-4AAB-95B4-1427A2605486}" type="presOf" srcId="{EBEBAC0F-E81A-4837-BC74-877F05C477E7}" destId="{BF5CC69C-AB2F-4C50-8B0A-B250A6DFC5DA}" srcOrd="0" destOrd="0" presId="urn:microsoft.com/office/officeart/2005/8/layout/vList2"/>
    <dgm:cxn modelId="{25F49B04-6F64-432D-B4FB-D4026E9ECF9F}" srcId="{EBEBAC0F-E81A-4837-BC74-877F05C477E7}" destId="{D7C4D328-DA8F-4F55-B840-B62DC113D3B2}" srcOrd="1" destOrd="0" parTransId="{FD4D897C-C2F2-4D1A-B3AD-6FF820C2A487}" sibTransId="{7B75D339-AB24-49C6-A30F-F91C5C0B7AC9}"/>
    <dgm:cxn modelId="{E97FED07-828F-48F8-9B8D-FADE7A93D2D0}" srcId="{EBEBAC0F-E81A-4837-BC74-877F05C477E7}" destId="{B13E4771-35DB-4FF9-AAAA-95707E2B59E0}" srcOrd="2" destOrd="0" parTransId="{27AD06D0-FFBB-4F0A-8AE3-B84444EEB820}" sibTransId="{F4ABE700-58B2-4D9E-8AF8-94919ED2B5C9}"/>
    <dgm:cxn modelId="{941CA10D-3330-4267-9C37-0EEAEFCA6463}" srcId="{EBEBAC0F-E81A-4837-BC74-877F05C477E7}" destId="{83BF6A80-1849-4606-9187-9EB49E2DD082}" srcOrd="0" destOrd="0" parTransId="{CA8FB9A8-A520-40CD-B04E-2E990314D94F}" sibTransId="{2A16EF3D-64A9-4FBE-8CE3-03557DCA291A}"/>
    <dgm:cxn modelId="{9B24EF16-8561-4CE1-B479-2AA80C1F1E9A}" type="presOf" srcId="{3A4C31ED-F133-42F3-A48C-255985EBB7E5}" destId="{2CE60CE3-C912-4F04-A89A-7FA5103BBEEC}" srcOrd="0" destOrd="0" presId="urn:microsoft.com/office/officeart/2005/8/layout/vList2"/>
    <dgm:cxn modelId="{3340032D-2DF1-4C45-8EEA-2821D624F6EB}" type="presOf" srcId="{D7C4D328-DA8F-4F55-B840-B62DC113D3B2}" destId="{19BF634A-98D8-4801-8C83-4EB8A444225E}" srcOrd="0" destOrd="1" presId="urn:microsoft.com/office/officeart/2005/8/layout/vList2"/>
    <dgm:cxn modelId="{16E96242-35D4-4D4B-B563-352034A2C08E}" srcId="{FD220F3B-772A-4C36-BDD0-2AEA3F437D1F}" destId="{75268365-68D6-43A3-852C-4D2D08AD9A0F}" srcOrd="1" destOrd="0" parTransId="{41971B48-D5FA-4BA9-ABF4-80C641F20533}" sibTransId="{9F66A8CB-301E-4FD4-8104-CBB5996CB680}"/>
    <dgm:cxn modelId="{16787F53-FBA9-4142-9F85-44CAED6E59AB}" srcId="{982641C2-A094-4D38-BB11-407AFC90E4AC}" destId="{EBEBAC0F-E81A-4837-BC74-877F05C477E7}" srcOrd="1" destOrd="0" parTransId="{F30BC659-B96B-42F3-8FBB-DC9D0EC3ABBD}" sibTransId="{ADFE51AE-E8CE-4A10-9CA6-B3985CA8BBA1}"/>
    <dgm:cxn modelId="{F56FB791-794C-4823-B6FE-F326906BC343}" type="presOf" srcId="{83BF6A80-1849-4606-9187-9EB49E2DD082}" destId="{19BF634A-98D8-4801-8C83-4EB8A444225E}" srcOrd="0" destOrd="0" presId="urn:microsoft.com/office/officeart/2005/8/layout/vList2"/>
    <dgm:cxn modelId="{F5B06C94-DFBF-40F1-9189-683E3C5D24DC}" type="presOf" srcId="{FD220F3B-772A-4C36-BDD0-2AEA3F437D1F}" destId="{E6AA28EE-A740-4EBA-847A-0D85A18312D3}" srcOrd="0" destOrd="0" presId="urn:microsoft.com/office/officeart/2005/8/layout/vList2"/>
    <dgm:cxn modelId="{2C4DFDA9-AB97-4089-82DC-9F73CE1CAF3D}" type="presOf" srcId="{B13E4771-35DB-4FF9-AAAA-95707E2B59E0}" destId="{19BF634A-98D8-4801-8C83-4EB8A444225E}" srcOrd="0" destOrd="2" presId="urn:microsoft.com/office/officeart/2005/8/layout/vList2"/>
    <dgm:cxn modelId="{B6EF01AE-9B4B-48E0-A8A0-5CFEEAC2EC2B}" srcId="{982641C2-A094-4D38-BB11-407AFC90E4AC}" destId="{FD220F3B-772A-4C36-BDD0-2AEA3F437D1F}" srcOrd="0" destOrd="0" parTransId="{27771F95-0827-477E-8DA1-5D24772282F8}" sibTransId="{E817510F-3E1F-487E-8505-246DF7991E37}"/>
    <dgm:cxn modelId="{A2B69EB5-14D7-46F5-A354-113C90231164}" type="presOf" srcId="{982641C2-A094-4D38-BB11-407AFC90E4AC}" destId="{D026C20D-032F-4B31-AA25-6E9A47807F4F}" srcOrd="0" destOrd="0" presId="urn:microsoft.com/office/officeart/2005/8/layout/vList2"/>
    <dgm:cxn modelId="{DF286DBE-21D4-4C38-8D18-3F02D732F5D9}" type="presOf" srcId="{75268365-68D6-43A3-852C-4D2D08AD9A0F}" destId="{2CE60CE3-C912-4F04-A89A-7FA5103BBEEC}" srcOrd="0" destOrd="1" presId="urn:microsoft.com/office/officeart/2005/8/layout/vList2"/>
    <dgm:cxn modelId="{F60101D5-6A67-4DC7-A027-DBFE2B0C9C1C}" srcId="{FD220F3B-772A-4C36-BDD0-2AEA3F437D1F}" destId="{3A4C31ED-F133-42F3-A48C-255985EBB7E5}" srcOrd="0" destOrd="0" parTransId="{644AA738-A873-475F-8B77-A745F9253755}" sibTransId="{4593E642-12CB-4A4D-8005-F26C0012D299}"/>
    <dgm:cxn modelId="{B1161C94-237F-43A2-B550-BFC6D948E81A}" type="presParOf" srcId="{D026C20D-032F-4B31-AA25-6E9A47807F4F}" destId="{E6AA28EE-A740-4EBA-847A-0D85A18312D3}" srcOrd="0" destOrd="0" presId="urn:microsoft.com/office/officeart/2005/8/layout/vList2"/>
    <dgm:cxn modelId="{CF212B3F-30BC-4DD1-9163-7F6389AF6256}" type="presParOf" srcId="{D026C20D-032F-4B31-AA25-6E9A47807F4F}" destId="{2CE60CE3-C912-4F04-A89A-7FA5103BBEEC}" srcOrd="1" destOrd="0" presId="urn:microsoft.com/office/officeart/2005/8/layout/vList2"/>
    <dgm:cxn modelId="{14C589C5-8066-4E2F-BD5C-93294E16D45C}" type="presParOf" srcId="{D026C20D-032F-4B31-AA25-6E9A47807F4F}" destId="{BF5CC69C-AB2F-4C50-8B0A-B250A6DFC5DA}" srcOrd="2" destOrd="0" presId="urn:microsoft.com/office/officeart/2005/8/layout/vList2"/>
    <dgm:cxn modelId="{5DB4CEF0-EA2B-49DE-B51E-92DB336FF66D}" type="presParOf" srcId="{D026C20D-032F-4B31-AA25-6E9A47807F4F}" destId="{19BF634A-98D8-4801-8C83-4EB8A444225E}" srcOrd="3"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A0CCC32-A2BA-4430-96A1-7EBD24F56F0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7E32DF9-130D-41E5-BFEB-792187DF4F96}">
      <dgm:prSet custT="1"/>
      <dgm:spPr/>
      <dgm:t>
        <a:bodyPr/>
        <a:lstStyle/>
        <a:p>
          <a:r>
            <a:rPr lang="en-US" sz="2800" baseline="0" dirty="0"/>
            <a:t>Encrypted sensitive data and corresponding keys are never seen in plain text in SQL Server</a:t>
          </a:r>
          <a:endParaRPr lang="en-US" sz="2800" dirty="0"/>
        </a:p>
      </dgm:t>
    </dgm:pt>
    <dgm:pt modelId="{D0ECBF1F-3C47-4016-AD8B-B474C5CE2BC7}" type="parTrans" cxnId="{0903F8DD-BF29-4AD4-BFC7-21312FA401E6}">
      <dgm:prSet/>
      <dgm:spPr/>
      <dgm:t>
        <a:bodyPr/>
        <a:lstStyle/>
        <a:p>
          <a:endParaRPr lang="en-US"/>
        </a:p>
      </dgm:t>
    </dgm:pt>
    <dgm:pt modelId="{6CFEDA76-A655-414A-9A9D-AE01DD83C1A9}" type="sibTrans" cxnId="{0903F8DD-BF29-4AD4-BFC7-21312FA401E6}">
      <dgm:prSet/>
      <dgm:spPr/>
      <dgm:t>
        <a:bodyPr/>
        <a:lstStyle/>
        <a:p>
          <a:endParaRPr lang="en-US"/>
        </a:p>
      </dgm:t>
    </dgm:pt>
    <dgm:pt modelId="{016ED03E-D1E8-4C40-88CD-68A2B98327B5}" type="pres">
      <dgm:prSet presAssocID="{EA0CCC32-A2BA-4430-96A1-7EBD24F56F09}" presName="linear" presStyleCnt="0">
        <dgm:presLayoutVars>
          <dgm:animLvl val="lvl"/>
          <dgm:resizeHandles val="exact"/>
        </dgm:presLayoutVars>
      </dgm:prSet>
      <dgm:spPr/>
    </dgm:pt>
    <dgm:pt modelId="{F1DE416B-2E15-4CC7-9AAD-33F4C7338192}" type="pres">
      <dgm:prSet presAssocID="{37E32DF9-130D-41E5-BFEB-792187DF4F96}" presName="parentText" presStyleLbl="node1" presStyleIdx="0" presStyleCnt="1" custScaleX="98147" custLinFactNeighborX="365">
        <dgm:presLayoutVars>
          <dgm:chMax val="0"/>
          <dgm:bulletEnabled val="1"/>
        </dgm:presLayoutVars>
      </dgm:prSet>
      <dgm:spPr/>
    </dgm:pt>
  </dgm:ptLst>
  <dgm:cxnLst>
    <dgm:cxn modelId="{BF718C1A-D182-4732-9F4D-61F40F3EB85F}" type="presOf" srcId="{EA0CCC32-A2BA-4430-96A1-7EBD24F56F09}" destId="{016ED03E-D1E8-4C40-88CD-68A2B98327B5}" srcOrd="0" destOrd="0" presId="urn:microsoft.com/office/officeart/2005/8/layout/vList2"/>
    <dgm:cxn modelId="{52EF67B4-23F0-4A07-ACBD-02486BA41EE1}" type="presOf" srcId="{37E32DF9-130D-41E5-BFEB-792187DF4F96}" destId="{F1DE416B-2E15-4CC7-9AAD-33F4C7338192}" srcOrd="0" destOrd="0" presId="urn:microsoft.com/office/officeart/2005/8/layout/vList2"/>
    <dgm:cxn modelId="{0903F8DD-BF29-4AD4-BFC7-21312FA401E6}" srcId="{EA0CCC32-A2BA-4430-96A1-7EBD24F56F09}" destId="{37E32DF9-130D-41E5-BFEB-792187DF4F96}" srcOrd="0" destOrd="0" parTransId="{D0ECBF1F-3C47-4016-AD8B-B474C5CE2BC7}" sibTransId="{6CFEDA76-A655-414A-9A9D-AE01DD83C1A9}"/>
    <dgm:cxn modelId="{AE482894-788C-419C-AD1C-3A67CD39A8BF}" type="presParOf" srcId="{016ED03E-D1E8-4C40-88CD-68A2B98327B5}" destId="{F1DE416B-2E15-4CC7-9AAD-33F4C7338192}"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01E6CD0-8940-473B-B1B7-1B20ED0FA67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E316897D-4CDD-46DD-87DD-96FE064DAA28}">
      <dgm:prSet/>
      <dgm:spPr/>
      <dgm:t>
        <a:bodyPr/>
        <a:lstStyle/>
        <a:p>
          <a:pPr>
            <a:lnSpc>
              <a:spcPct val="100000"/>
            </a:lnSpc>
          </a:pPr>
          <a:r>
            <a:rPr lang="en-US" baseline="0" dirty="0"/>
            <a:t>CMK – Column Master Key is used to encrypt other keys, always in client’s control, and in an external key store</a:t>
          </a:r>
          <a:endParaRPr lang="en-US" dirty="0"/>
        </a:p>
      </dgm:t>
    </dgm:pt>
    <dgm:pt modelId="{21A7A801-F23D-4563-B17A-1EE1A67C5AC6}" type="parTrans" cxnId="{637D97F2-2EFF-4C58-979B-421EC2654671}">
      <dgm:prSet/>
      <dgm:spPr/>
      <dgm:t>
        <a:bodyPr/>
        <a:lstStyle/>
        <a:p>
          <a:endParaRPr lang="en-US"/>
        </a:p>
      </dgm:t>
    </dgm:pt>
    <dgm:pt modelId="{59EFB784-A255-4B3D-A072-EE89CCC0F521}" type="sibTrans" cxnId="{637D97F2-2EFF-4C58-979B-421EC2654671}">
      <dgm:prSet/>
      <dgm:spPr/>
      <dgm:t>
        <a:bodyPr/>
        <a:lstStyle/>
        <a:p>
          <a:endParaRPr lang="en-US"/>
        </a:p>
      </dgm:t>
    </dgm:pt>
    <dgm:pt modelId="{E37D89D8-21D3-45CE-A36C-13691F54053B}">
      <dgm:prSet/>
      <dgm:spPr>
        <a:ln w="28575">
          <a:solidFill>
            <a:schemeClr val="accent3">
              <a:lumMod val="75000"/>
            </a:schemeClr>
          </a:solidFill>
        </a:ln>
      </dgm:spPr>
      <dgm:t>
        <a:bodyPr/>
        <a:lstStyle/>
        <a:p>
          <a:pPr>
            <a:lnSpc>
              <a:spcPct val="100000"/>
            </a:lnSpc>
          </a:pPr>
          <a:r>
            <a:rPr lang="en-US" baseline="0" dirty="0"/>
            <a:t>Azure Key Vault</a:t>
          </a:r>
        </a:p>
        <a:p>
          <a:pPr>
            <a:lnSpc>
              <a:spcPct val="100000"/>
            </a:lnSpc>
          </a:pPr>
          <a:r>
            <a:rPr lang="en-US" baseline="0" dirty="0"/>
            <a:t>Windows Certificate Store</a:t>
          </a:r>
          <a:endParaRPr lang="en-US" dirty="0"/>
        </a:p>
      </dgm:t>
    </dgm:pt>
    <dgm:pt modelId="{75364289-495D-4F35-8E8D-6600A7A14106}" type="parTrans" cxnId="{82D3D9D2-904D-48C5-9447-565300B0EF76}">
      <dgm:prSet/>
      <dgm:spPr/>
      <dgm:t>
        <a:bodyPr/>
        <a:lstStyle/>
        <a:p>
          <a:endParaRPr lang="en-US"/>
        </a:p>
      </dgm:t>
    </dgm:pt>
    <dgm:pt modelId="{48B145AD-68E8-408E-955B-B59EAD5536EC}" type="sibTrans" cxnId="{82D3D9D2-904D-48C5-9447-565300B0EF76}">
      <dgm:prSet/>
      <dgm:spPr/>
      <dgm:t>
        <a:bodyPr/>
        <a:lstStyle/>
        <a:p>
          <a:endParaRPr lang="en-US"/>
        </a:p>
      </dgm:t>
    </dgm:pt>
    <dgm:pt modelId="{6EC0ECAD-F9AB-4A6C-B2DD-A7F9A2710847}">
      <dgm:prSet/>
      <dgm:spPr>
        <a:ln w="28575">
          <a:solidFill>
            <a:schemeClr val="accent3">
              <a:lumMod val="75000"/>
            </a:schemeClr>
          </a:solidFill>
        </a:ln>
      </dgm:spPr>
      <dgm:t>
        <a:bodyPr/>
        <a:lstStyle/>
        <a:p>
          <a:pPr>
            <a:lnSpc>
              <a:spcPct val="100000"/>
            </a:lnSpc>
          </a:pPr>
          <a:r>
            <a:rPr lang="en-US" baseline="0" dirty="0"/>
            <a:t>Hardware Security Sections </a:t>
          </a:r>
          <a:endParaRPr lang="en-US" dirty="0"/>
        </a:p>
      </dgm:t>
    </dgm:pt>
    <dgm:pt modelId="{EEFD24FC-FE15-4C56-BD22-2DEC9F87AC9C}" type="parTrans" cxnId="{BA82F43F-6096-42A5-8E56-8BF4B154A64F}">
      <dgm:prSet/>
      <dgm:spPr/>
      <dgm:t>
        <a:bodyPr/>
        <a:lstStyle/>
        <a:p>
          <a:endParaRPr lang="en-US"/>
        </a:p>
      </dgm:t>
    </dgm:pt>
    <dgm:pt modelId="{37F0D956-5BA8-406E-909F-522520E4293C}" type="sibTrans" cxnId="{BA82F43F-6096-42A5-8E56-8BF4B154A64F}">
      <dgm:prSet/>
      <dgm:spPr/>
      <dgm:t>
        <a:bodyPr/>
        <a:lstStyle/>
        <a:p>
          <a:endParaRPr lang="en-US"/>
        </a:p>
      </dgm:t>
    </dgm:pt>
    <dgm:pt modelId="{662C2115-F0A5-4094-93A1-E13A1E301300}">
      <dgm:prSet/>
      <dgm:spPr/>
      <dgm:t>
        <a:bodyPr/>
        <a:lstStyle/>
        <a:p>
          <a:pPr>
            <a:lnSpc>
              <a:spcPct val="100000"/>
            </a:lnSpc>
          </a:pPr>
          <a:r>
            <a:rPr lang="en-US" baseline="0"/>
            <a:t>CEK – Column Encryption Key is a content encryption key</a:t>
          </a:r>
          <a:endParaRPr lang="en-US"/>
        </a:p>
      </dgm:t>
    </dgm:pt>
    <dgm:pt modelId="{755C5DC5-FADB-4552-BB7A-A0DF3D1FCC0A}" type="parTrans" cxnId="{5590DF1E-18CB-45B9-9372-B4FFBE324143}">
      <dgm:prSet/>
      <dgm:spPr/>
      <dgm:t>
        <a:bodyPr/>
        <a:lstStyle/>
        <a:p>
          <a:endParaRPr lang="en-US"/>
        </a:p>
      </dgm:t>
    </dgm:pt>
    <dgm:pt modelId="{781E0B86-CF8C-412D-B1AF-BA40BB0A5DF1}" type="sibTrans" cxnId="{5590DF1E-18CB-45B9-9372-B4FFBE324143}">
      <dgm:prSet/>
      <dgm:spPr/>
      <dgm:t>
        <a:bodyPr/>
        <a:lstStyle/>
        <a:p>
          <a:endParaRPr lang="en-US"/>
        </a:p>
      </dgm:t>
    </dgm:pt>
    <dgm:pt modelId="{6DFCC512-8FC5-45BF-99E2-6850397BC5D6}" type="pres">
      <dgm:prSet presAssocID="{F01E6CD0-8940-473B-B1B7-1B20ED0FA676}" presName="root" presStyleCnt="0">
        <dgm:presLayoutVars>
          <dgm:dir/>
          <dgm:resizeHandles val="exact"/>
        </dgm:presLayoutVars>
      </dgm:prSet>
      <dgm:spPr/>
    </dgm:pt>
    <dgm:pt modelId="{6D28CDFD-1EA5-4807-85B5-151FBAD533E4}" type="pres">
      <dgm:prSet presAssocID="{E316897D-4CDD-46DD-87DD-96FE064DAA28}" presName="compNode" presStyleCnt="0"/>
      <dgm:spPr/>
    </dgm:pt>
    <dgm:pt modelId="{C64F064C-D75D-431F-AF5F-C212318068FC}" type="pres">
      <dgm:prSet presAssocID="{E316897D-4CDD-46DD-87DD-96FE064DAA28}" presName="bgRect" presStyleLbl="bgShp" presStyleIdx="0" presStyleCnt="2"/>
      <dgm:spPr/>
    </dgm:pt>
    <dgm:pt modelId="{92A99ECB-D415-48A1-A5AC-000E06F26E19}" type="pres">
      <dgm:prSet presAssocID="{E316897D-4CDD-46DD-87DD-96FE064DAA28}"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Key"/>
        </a:ext>
      </dgm:extLst>
    </dgm:pt>
    <dgm:pt modelId="{28E1A568-CD12-49E8-8D33-724D5B4B5B40}" type="pres">
      <dgm:prSet presAssocID="{E316897D-4CDD-46DD-87DD-96FE064DAA28}" presName="spaceRect" presStyleCnt="0"/>
      <dgm:spPr/>
    </dgm:pt>
    <dgm:pt modelId="{2E8C3F74-E1FE-403A-8AE0-36381D5F90A6}" type="pres">
      <dgm:prSet presAssocID="{E316897D-4CDD-46DD-87DD-96FE064DAA28}" presName="parTx" presStyleLbl="revTx" presStyleIdx="0" presStyleCnt="3">
        <dgm:presLayoutVars>
          <dgm:chMax val="0"/>
          <dgm:chPref val="0"/>
        </dgm:presLayoutVars>
      </dgm:prSet>
      <dgm:spPr/>
    </dgm:pt>
    <dgm:pt modelId="{B93A0E3B-9CBD-4978-9C35-A6A680EFC60F}" type="pres">
      <dgm:prSet presAssocID="{E316897D-4CDD-46DD-87DD-96FE064DAA28}" presName="desTx" presStyleLbl="revTx" presStyleIdx="1" presStyleCnt="3">
        <dgm:presLayoutVars/>
      </dgm:prSet>
      <dgm:spPr/>
    </dgm:pt>
    <dgm:pt modelId="{C15321CB-BC3C-4E1B-B642-A4DB391624DF}" type="pres">
      <dgm:prSet presAssocID="{59EFB784-A255-4B3D-A072-EE89CCC0F521}" presName="sibTrans" presStyleCnt="0"/>
      <dgm:spPr/>
    </dgm:pt>
    <dgm:pt modelId="{D2F01634-7789-4432-8E10-E1F9BAAC6203}" type="pres">
      <dgm:prSet presAssocID="{662C2115-F0A5-4094-93A1-E13A1E301300}" presName="compNode" presStyleCnt="0"/>
      <dgm:spPr/>
    </dgm:pt>
    <dgm:pt modelId="{D7A8E28B-4B10-441F-94DC-EEEC3E8A1220}" type="pres">
      <dgm:prSet presAssocID="{662C2115-F0A5-4094-93A1-E13A1E301300}" presName="bgRect" presStyleLbl="bgShp" presStyleIdx="1" presStyleCnt="2"/>
      <dgm:spPr/>
    </dgm:pt>
    <dgm:pt modelId="{B48817B1-3F17-4E3A-8FC9-C119429CBD41}" type="pres">
      <dgm:prSet presAssocID="{662C2115-F0A5-4094-93A1-E13A1E301300}" presName="iconRect" presStyleLbl="node1" presStyleIdx="1" presStyleCnt="2"/>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Key"/>
        </a:ext>
      </dgm:extLst>
    </dgm:pt>
    <dgm:pt modelId="{532C9C86-AF93-4322-876E-E27637D6DC6B}" type="pres">
      <dgm:prSet presAssocID="{662C2115-F0A5-4094-93A1-E13A1E301300}" presName="spaceRect" presStyleCnt="0"/>
      <dgm:spPr/>
    </dgm:pt>
    <dgm:pt modelId="{4B31B38B-81EA-425B-9E82-CBAEBC7DD2A0}" type="pres">
      <dgm:prSet presAssocID="{662C2115-F0A5-4094-93A1-E13A1E301300}" presName="parTx" presStyleLbl="revTx" presStyleIdx="2" presStyleCnt="3">
        <dgm:presLayoutVars>
          <dgm:chMax val="0"/>
          <dgm:chPref val="0"/>
        </dgm:presLayoutVars>
      </dgm:prSet>
      <dgm:spPr/>
    </dgm:pt>
  </dgm:ptLst>
  <dgm:cxnLst>
    <dgm:cxn modelId="{3FCA921E-926D-45BE-877D-A1F1A2C03D0C}" type="presOf" srcId="{6EC0ECAD-F9AB-4A6C-B2DD-A7F9A2710847}" destId="{B93A0E3B-9CBD-4978-9C35-A6A680EFC60F}" srcOrd="0" destOrd="1" presId="urn:microsoft.com/office/officeart/2018/2/layout/IconVerticalSolidList"/>
    <dgm:cxn modelId="{5590DF1E-18CB-45B9-9372-B4FFBE324143}" srcId="{F01E6CD0-8940-473B-B1B7-1B20ED0FA676}" destId="{662C2115-F0A5-4094-93A1-E13A1E301300}" srcOrd="1" destOrd="0" parTransId="{755C5DC5-FADB-4552-BB7A-A0DF3D1FCC0A}" sibTransId="{781E0B86-CF8C-412D-B1AF-BA40BB0A5DF1}"/>
    <dgm:cxn modelId="{BA82F43F-6096-42A5-8E56-8BF4B154A64F}" srcId="{E316897D-4CDD-46DD-87DD-96FE064DAA28}" destId="{6EC0ECAD-F9AB-4A6C-B2DD-A7F9A2710847}" srcOrd="1" destOrd="0" parTransId="{EEFD24FC-FE15-4C56-BD22-2DEC9F87AC9C}" sibTransId="{37F0D956-5BA8-406E-909F-522520E4293C}"/>
    <dgm:cxn modelId="{BB37FD6A-2B22-459C-B8E5-8220455FB702}" type="presOf" srcId="{E316897D-4CDD-46DD-87DD-96FE064DAA28}" destId="{2E8C3F74-E1FE-403A-8AE0-36381D5F90A6}" srcOrd="0" destOrd="0" presId="urn:microsoft.com/office/officeart/2018/2/layout/IconVerticalSolidList"/>
    <dgm:cxn modelId="{654C1C4C-5122-4757-9497-DE8C4BBA427B}" type="presOf" srcId="{662C2115-F0A5-4094-93A1-E13A1E301300}" destId="{4B31B38B-81EA-425B-9E82-CBAEBC7DD2A0}" srcOrd="0" destOrd="0" presId="urn:microsoft.com/office/officeart/2018/2/layout/IconVerticalSolidList"/>
    <dgm:cxn modelId="{AD2926AB-9558-48A8-8CD2-3328078526C6}" type="presOf" srcId="{F01E6CD0-8940-473B-B1B7-1B20ED0FA676}" destId="{6DFCC512-8FC5-45BF-99E2-6850397BC5D6}" srcOrd="0" destOrd="0" presId="urn:microsoft.com/office/officeart/2018/2/layout/IconVerticalSolidList"/>
    <dgm:cxn modelId="{32494FB4-93AA-44E8-AA61-AE765A039766}" type="presOf" srcId="{E37D89D8-21D3-45CE-A36C-13691F54053B}" destId="{B93A0E3B-9CBD-4978-9C35-A6A680EFC60F}" srcOrd="0" destOrd="0" presId="urn:microsoft.com/office/officeart/2018/2/layout/IconVerticalSolidList"/>
    <dgm:cxn modelId="{82D3D9D2-904D-48C5-9447-565300B0EF76}" srcId="{E316897D-4CDD-46DD-87DD-96FE064DAA28}" destId="{E37D89D8-21D3-45CE-A36C-13691F54053B}" srcOrd="0" destOrd="0" parTransId="{75364289-495D-4F35-8E8D-6600A7A14106}" sibTransId="{48B145AD-68E8-408E-955B-B59EAD5536EC}"/>
    <dgm:cxn modelId="{637D97F2-2EFF-4C58-979B-421EC2654671}" srcId="{F01E6CD0-8940-473B-B1B7-1B20ED0FA676}" destId="{E316897D-4CDD-46DD-87DD-96FE064DAA28}" srcOrd="0" destOrd="0" parTransId="{21A7A801-F23D-4563-B17A-1EE1A67C5AC6}" sibTransId="{59EFB784-A255-4B3D-A072-EE89CCC0F521}"/>
    <dgm:cxn modelId="{4C1286EE-84F3-4F09-B2BB-D1FA2FBDBE53}" type="presParOf" srcId="{6DFCC512-8FC5-45BF-99E2-6850397BC5D6}" destId="{6D28CDFD-1EA5-4807-85B5-151FBAD533E4}" srcOrd="0" destOrd="0" presId="urn:microsoft.com/office/officeart/2018/2/layout/IconVerticalSolidList"/>
    <dgm:cxn modelId="{6D576699-F1E6-4B55-9694-CDDF885A8F3D}" type="presParOf" srcId="{6D28CDFD-1EA5-4807-85B5-151FBAD533E4}" destId="{C64F064C-D75D-431F-AF5F-C212318068FC}" srcOrd="0" destOrd="0" presId="urn:microsoft.com/office/officeart/2018/2/layout/IconVerticalSolidList"/>
    <dgm:cxn modelId="{C5E76962-EFE4-4AA3-941D-FC1747C176A4}" type="presParOf" srcId="{6D28CDFD-1EA5-4807-85B5-151FBAD533E4}" destId="{92A99ECB-D415-48A1-A5AC-000E06F26E19}" srcOrd="1" destOrd="0" presId="urn:microsoft.com/office/officeart/2018/2/layout/IconVerticalSolidList"/>
    <dgm:cxn modelId="{FF40DE15-11E1-4537-A8AB-E68B59A89601}" type="presParOf" srcId="{6D28CDFD-1EA5-4807-85B5-151FBAD533E4}" destId="{28E1A568-CD12-49E8-8D33-724D5B4B5B40}" srcOrd="2" destOrd="0" presId="urn:microsoft.com/office/officeart/2018/2/layout/IconVerticalSolidList"/>
    <dgm:cxn modelId="{87065468-C3BF-4430-AF7F-970E775E828A}" type="presParOf" srcId="{6D28CDFD-1EA5-4807-85B5-151FBAD533E4}" destId="{2E8C3F74-E1FE-403A-8AE0-36381D5F90A6}" srcOrd="3" destOrd="0" presId="urn:microsoft.com/office/officeart/2018/2/layout/IconVerticalSolidList"/>
    <dgm:cxn modelId="{4B3F39CC-EC2E-4DCC-95D5-25C4BDE742F3}" type="presParOf" srcId="{6D28CDFD-1EA5-4807-85B5-151FBAD533E4}" destId="{B93A0E3B-9CBD-4978-9C35-A6A680EFC60F}" srcOrd="4" destOrd="0" presId="urn:microsoft.com/office/officeart/2018/2/layout/IconVerticalSolidList"/>
    <dgm:cxn modelId="{B4AC9D59-29F5-472C-AFBC-F85358D637B6}" type="presParOf" srcId="{6DFCC512-8FC5-45BF-99E2-6850397BC5D6}" destId="{C15321CB-BC3C-4E1B-B642-A4DB391624DF}" srcOrd="1" destOrd="0" presId="urn:microsoft.com/office/officeart/2018/2/layout/IconVerticalSolidList"/>
    <dgm:cxn modelId="{C1F52AD5-BCB1-4223-89DB-C44CABB9E352}" type="presParOf" srcId="{6DFCC512-8FC5-45BF-99E2-6850397BC5D6}" destId="{D2F01634-7789-4432-8E10-E1F9BAAC6203}" srcOrd="2" destOrd="0" presId="urn:microsoft.com/office/officeart/2018/2/layout/IconVerticalSolidList"/>
    <dgm:cxn modelId="{DF45B94C-43BC-4971-BD72-E2973E58D5A1}" type="presParOf" srcId="{D2F01634-7789-4432-8E10-E1F9BAAC6203}" destId="{D7A8E28B-4B10-441F-94DC-EEEC3E8A1220}" srcOrd="0" destOrd="0" presId="urn:microsoft.com/office/officeart/2018/2/layout/IconVerticalSolidList"/>
    <dgm:cxn modelId="{0EE2A5CE-6A4F-49FD-B8E1-6DADB719A43C}" type="presParOf" srcId="{D2F01634-7789-4432-8E10-E1F9BAAC6203}" destId="{B48817B1-3F17-4E3A-8FC9-C119429CBD41}" srcOrd="1" destOrd="0" presId="urn:microsoft.com/office/officeart/2018/2/layout/IconVerticalSolidList"/>
    <dgm:cxn modelId="{3CFABD1D-DF41-4263-A105-CB7FADFED436}" type="presParOf" srcId="{D2F01634-7789-4432-8E10-E1F9BAAC6203}" destId="{532C9C86-AF93-4322-876E-E27637D6DC6B}" srcOrd="2" destOrd="0" presId="urn:microsoft.com/office/officeart/2018/2/layout/IconVerticalSolidList"/>
    <dgm:cxn modelId="{5FD5F2F9-B076-46E9-9E82-A96B3B8E8402}" type="presParOf" srcId="{D2F01634-7789-4432-8E10-E1F9BAAC6203}" destId="{4B31B38B-81EA-425B-9E82-CBAEBC7DD2A0}"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9EA4F0B-46D3-4201-B639-A85ABC41BD73}" type="doc">
      <dgm:prSet loTypeId="urn:microsoft.com/office/officeart/2005/8/layout/chevronAccent+Icon" loCatId="process" qsTypeId="urn:microsoft.com/office/officeart/2005/8/quickstyle/simple1" qsCatId="simple" csTypeId="urn:microsoft.com/office/officeart/2005/8/colors/colorful2" csCatId="colorful" phldr="1"/>
      <dgm:spPr/>
      <dgm:t>
        <a:bodyPr/>
        <a:lstStyle/>
        <a:p>
          <a:endParaRPr lang="en-US"/>
        </a:p>
      </dgm:t>
    </dgm:pt>
    <dgm:pt modelId="{8682D599-A1BC-452A-84AB-2618D1504142}">
      <dgm:prSet custT="1"/>
      <dgm:spPr/>
      <dgm:t>
        <a:bodyPr/>
        <a:lstStyle/>
        <a:p>
          <a:r>
            <a:rPr lang="en-US" sz="2400" baseline="0" dirty="0"/>
            <a:t>Generate CEKs and master key</a:t>
          </a:r>
          <a:endParaRPr lang="en-US" sz="2400" dirty="0"/>
        </a:p>
      </dgm:t>
    </dgm:pt>
    <dgm:pt modelId="{DF703811-113C-4444-9AF2-81B2B6DD53FD}" type="parTrans" cxnId="{F0F1437E-9F25-4651-9BC5-43EDBF687ED5}">
      <dgm:prSet/>
      <dgm:spPr/>
      <dgm:t>
        <a:bodyPr/>
        <a:lstStyle/>
        <a:p>
          <a:endParaRPr lang="en-US"/>
        </a:p>
      </dgm:t>
    </dgm:pt>
    <dgm:pt modelId="{35B0260E-ED6A-4394-B4CD-9902780144FF}" type="sibTrans" cxnId="{F0F1437E-9F25-4651-9BC5-43EDBF687ED5}">
      <dgm:prSet/>
      <dgm:spPr/>
      <dgm:t>
        <a:bodyPr/>
        <a:lstStyle/>
        <a:p>
          <a:endParaRPr lang="en-US"/>
        </a:p>
      </dgm:t>
    </dgm:pt>
    <dgm:pt modelId="{8F349396-A8C3-4080-A0DA-C96009C604FD}">
      <dgm:prSet custT="1"/>
      <dgm:spPr/>
      <dgm:t>
        <a:bodyPr/>
        <a:lstStyle/>
        <a:p>
          <a:r>
            <a:rPr lang="en-US" sz="2400" baseline="0"/>
            <a:t>Encrypt CEK</a:t>
          </a:r>
          <a:endParaRPr lang="en-US" sz="2400"/>
        </a:p>
      </dgm:t>
    </dgm:pt>
    <dgm:pt modelId="{E49534C2-29BF-42C5-9032-9F40514BA3B3}" type="parTrans" cxnId="{715165CC-1FB4-421C-912B-57051922609F}">
      <dgm:prSet/>
      <dgm:spPr/>
      <dgm:t>
        <a:bodyPr/>
        <a:lstStyle/>
        <a:p>
          <a:endParaRPr lang="en-US"/>
        </a:p>
      </dgm:t>
    </dgm:pt>
    <dgm:pt modelId="{94C61F0F-5E42-4949-88E2-16B41EC04771}" type="sibTrans" cxnId="{715165CC-1FB4-421C-912B-57051922609F}">
      <dgm:prSet/>
      <dgm:spPr/>
      <dgm:t>
        <a:bodyPr/>
        <a:lstStyle/>
        <a:p>
          <a:endParaRPr lang="en-US"/>
        </a:p>
      </dgm:t>
    </dgm:pt>
    <dgm:pt modelId="{B4C26C58-C3D0-4C65-8EFF-853A73FCFEC2}">
      <dgm:prSet custT="1"/>
      <dgm:spPr/>
      <dgm:t>
        <a:bodyPr/>
        <a:lstStyle/>
        <a:p>
          <a:r>
            <a:rPr lang="en-US" sz="2400" baseline="0"/>
            <a:t>Store master key securely</a:t>
          </a:r>
          <a:endParaRPr lang="en-US" sz="2400"/>
        </a:p>
      </dgm:t>
    </dgm:pt>
    <dgm:pt modelId="{5951E394-B4DE-4746-BB75-DB8F5ACD33B5}" type="parTrans" cxnId="{0A7F20BE-828A-456D-9EBC-4ABC4A30654D}">
      <dgm:prSet/>
      <dgm:spPr/>
      <dgm:t>
        <a:bodyPr/>
        <a:lstStyle/>
        <a:p>
          <a:endParaRPr lang="en-US"/>
        </a:p>
      </dgm:t>
    </dgm:pt>
    <dgm:pt modelId="{85CA90B1-F124-4F5A-8FA3-B581DE6DC355}" type="sibTrans" cxnId="{0A7F20BE-828A-456D-9EBC-4ABC4A30654D}">
      <dgm:prSet/>
      <dgm:spPr/>
      <dgm:t>
        <a:bodyPr/>
        <a:lstStyle/>
        <a:p>
          <a:endParaRPr lang="en-US"/>
        </a:p>
      </dgm:t>
    </dgm:pt>
    <dgm:pt modelId="{7A641774-4A66-4AB0-AA7C-CDB949B9DF00}">
      <dgm:prSet custT="1"/>
      <dgm:spPr/>
      <dgm:t>
        <a:bodyPr/>
        <a:lstStyle/>
        <a:p>
          <a:r>
            <a:rPr lang="en-US" sz="2400" baseline="0"/>
            <a:t>Upload encrypted CEK to DB</a:t>
          </a:r>
          <a:endParaRPr lang="en-US" sz="2400"/>
        </a:p>
      </dgm:t>
    </dgm:pt>
    <dgm:pt modelId="{A791EB7C-61F8-48A1-B814-C243ACC6BE75}" type="parTrans" cxnId="{73C2DD1A-908D-4FC0-9A5D-17C6745C60E4}">
      <dgm:prSet/>
      <dgm:spPr/>
      <dgm:t>
        <a:bodyPr/>
        <a:lstStyle/>
        <a:p>
          <a:endParaRPr lang="en-US"/>
        </a:p>
      </dgm:t>
    </dgm:pt>
    <dgm:pt modelId="{2BA5B5AF-4E97-4833-916A-B3F5DA695237}" type="sibTrans" cxnId="{73C2DD1A-908D-4FC0-9A5D-17C6745C60E4}">
      <dgm:prSet/>
      <dgm:spPr/>
      <dgm:t>
        <a:bodyPr/>
        <a:lstStyle/>
        <a:p>
          <a:endParaRPr lang="en-US"/>
        </a:p>
      </dgm:t>
    </dgm:pt>
    <dgm:pt modelId="{C8F151E7-982D-4C74-A677-6EECCA073C13}" type="pres">
      <dgm:prSet presAssocID="{29EA4F0B-46D3-4201-B639-A85ABC41BD73}" presName="Name0" presStyleCnt="0">
        <dgm:presLayoutVars>
          <dgm:dir/>
          <dgm:resizeHandles val="exact"/>
        </dgm:presLayoutVars>
      </dgm:prSet>
      <dgm:spPr/>
    </dgm:pt>
    <dgm:pt modelId="{49CF1AC0-37A5-4F23-9E1F-75BCE0AEEF53}" type="pres">
      <dgm:prSet presAssocID="{8682D599-A1BC-452A-84AB-2618D1504142}" presName="composite" presStyleCnt="0"/>
      <dgm:spPr/>
    </dgm:pt>
    <dgm:pt modelId="{72F4F28F-5A40-4446-B73F-24FA8C091425}" type="pres">
      <dgm:prSet presAssocID="{8682D599-A1BC-452A-84AB-2618D1504142}" presName="bgChev" presStyleLbl="node1" presStyleIdx="0" presStyleCnt="4"/>
      <dgm:spPr/>
    </dgm:pt>
    <dgm:pt modelId="{637ED223-C7C6-40C2-8A61-02C658CF3A2F}" type="pres">
      <dgm:prSet presAssocID="{8682D599-A1BC-452A-84AB-2618D1504142}" presName="txNode" presStyleLbl="fgAcc1" presStyleIdx="0" presStyleCnt="4" custScaleX="113137" custScaleY="144740">
        <dgm:presLayoutVars>
          <dgm:bulletEnabled val="1"/>
        </dgm:presLayoutVars>
      </dgm:prSet>
      <dgm:spPr/>
    </dgm:pt>
    <dgm:pt modelId="{7D79CC61-D7BE-4C27-A6F1-CD065F0F39F6}" type="pres">
      <dgm:prSet presAssocID="{35B0260E-ED6A-4394-B4CD-9902780144FF}" presName="compositeSpace" presStyleCnt="0"/>
      <dgm:spPr/>
    </dgm:pt>
    <dgm:pt modelId="{E7020CFC-C224-484C-BE46-4F3029BAB996}" type="pres">
      <dgm:prSet presAssocID="{8F349396-A8C3-4080-A0DA-C96009C604FD}" presName="composite" presStyleCnt="0"/>
      <dgm:spPr/>
    </dgm:pt>
    <dgm:pt modelId="{5342529E-9947-4A14-8F56-492B85601A2B}" type="pres">
      <dgm:prSet presAssocID="{8F349396-A8C3-4080-A0DA-C96009C604FD}" presName="bgChev" presStyleLbl="node1" presStyleIdx="1" presStyleCnt="4"/>
      <dgm:spPr/>
    </dgm:pt>
    <dgm:pt modelId="{8C67DA84-B66B-491D-A739-E7FDB8FE7E68}" type="pres">
      <dgm:prSet presAssocID="{8F349396-A8C3-4080-A0DA-C96009C604FD}" presName="txNode" presStyleLbl="fgAcc1" presStyleIdx="1" presStyleCnt="4" custScaleX="113137" custScaleY="144740">
        <dgm:presLayoutVars>
          <dgm:bulletEnabled val="1"/>
        </dgm:presLayoutVars>
      </dgm:prSet>
      <dgm:spPr/>
    </dgm:pt>
    <dgm:pt modelId="{3B875673-36EC-4B81-A4D4-AB11F0773686}" type="pres">
      <dgm:prSet presAssocID="{94C61F0F-5E42-4949-88E2-16B41EC04771}" presName="compositeSpace" presStyleCnt="0"/>
      <dgm:spPr/>
    </dgm:pt>
    <dgm:pt modelId="{7C313287-984F-49F1-AF06-689716C0FFB7}" type="pres">
      <dgm:prSet presAssocID="{B4C26C58-C3D0-4C65-8EFF-853A73FCFEC2}" presName="composite" presStyleCnt="0"/>
      <dgm:spPr/>
    </dgm:pt>
    <dgm:pt modelId="{7F6E88C1-BE67-45F6-900E-E4740C34D4F6}" type="pres">
      <dgm:prSet presAssocID="{B4C26C58-C3D0-4C65-8EFF-853A73FCFEC2}" presName="bgChev" presStyleLbl="node1" presStyleIdx="2" presStyleCnt="4"/>
      <dgm:spPr/>
    </dgm:pt>
    <dgm:pt modelId="{899870CB-525E-4B98-B3BF-BFFC0EBA3FD8}" type="pres">
      <dgm:prSet presAssocID="{B4C26C58-C3D0-4C65-8EFF-853A73FCFEC2}" presName="txNode" presStyleLbl="fgAcc1" presStyleIdx="2" presStyleCnt="4" custScaleX="113137" custScaleY="144740">
        <dgm:presLayoutVars>
          <dgm:bulletEnabled val="1"/>
        </dgm:presLayoutVars>
      </dgm:prSet>
      <dgm:spPr/>
    </dgm:pt>
    <dgm:pt modelId="{CC33D81B-6C98-474D-9D78-A89FA0F9F118}" type="pres">
      <dgm:prSet presAssocID="{85CA90B1-F124-4F5A-8FA3-B581DE6DC355}" presName="compositeSpace" presStyleCnt="0"/>
      <dgm:spPr/>
    </dgm:pt>
    <dgm:pt modelId="{2F0D080D-4CAB-462E-B6F5-F04AB3B21F71}" type="pres">
      <dgm:prSet presAssocID="{7A641774-4A66-4AB0-AA7C-CDB949B9DF00}" presName="composite" presStyleCnt="0"/>
      <dgm:spPr/>
    </dgm:pt>
    <dgm:pt modelId="{4D485240-D5B2-44FE-BA3F-37ACB8DECDD1}" type="pres">
      <dgm:prSet presAssocID="{7A641774-4A66-4AB0-AA7C-CDB949B9DF00}" presName="bgChev" presStyleLbl="node1" presStyleIdx="3" presStyleCnt="4"/>
      <dgm:spPr/>
    </dgm:pt>
    <dgm:pt modelId="{A47C43F3-21FD-4F8F-964A-6B8096F5114A}" type="pres">
      <dgm:prSet presAssocID="{7A641774-4A66-4AB0-AA7C-CDB949B9DF00}" presName="txNode" presStyleLbl="fgAcc1" presStyleIdx="3" presStyleCnt="4" custScaleX="113137" custScaleY="144740">
        <dgm:presLayoutVars>
          <dgm:bulletEnabled val="1"/>
        </dgm:presLayoutVars>
      </dgm:prSet>
      <dgm:spPr/>
    </dgm:pt>
  </dgm:ptLst>
  <dgm:cxnLst>
    <dgm:cxn modelId="{73C2DD1A-908D-4FC0-9A5D-17C6745C60E4}" srcId="{29EA4F0B-46D3-4201-B639-A85ABC41BD73}" destId="{7A641774-4A66-4AB0-AA7C-CDB949B9DF00}" srcOrd="3" destOrd="0" parTransId="{A791EB7C-61F8-48A1-B814-C243ACC6BE75}" sibTransId="{2BA5B5AF-4E97-4833-916A-B3F5DA695237}"/>
    <dgm:cxn modelId="{88E03F4A-839C-4B78-84B7-F736110AADBB}" type="presOf" srcId="{B4C26C58-C3D0-4C65-8EFF-853A73FCFEC2}" destId="{899870CB-525E-4B98-B3BF-BFFC0EBA3FD8}" srcOrd="0" destOrd="0" presId="urn:microsoft.com/office/officeart/2005/8/layout/chevronAccent+Icon"/>
    <dgm:cxn modelId="{6202707D-3388-4D1D-86B7-5CC6CF7A643E}" type="presOf" srcId="{8F349396-A8C3-4080-A0DA-C96009C604FD}" destId="{8C67DA84-B66B-491D-A739-E7FDB8FE7E68}" srcOrd="0" destOrd="0" presId="urn:microsoft.com/office/officeart/2005/8/layout/chevronAccent+Icon"/>
    <dgm:cxn modelId="{F0F1437E-9F25-4651-9BC5-43EDBF687ED5}" srcId="{29EA4F0B-46D3-4201-B639-A85ABC41BD73}" destId="{8682D599-A1BC-452A-84AB-2618D1504142}" srcOrd="0" destOrd="0" parTransId="{DF703811-113C-4444-9AF2-81B2B6DD53FD}" sibTransId="{35B0260E-ED6A-4394-B4CD-9902780144FF}"/>
    <dgm:cxn modelId="{0A7F20BE-828A-456D-9EBC-4ABC4A30654D}" srcId="{29EA4F0B-46D3-4201-B639-A85ABC41BD73}" destId="{B4C26C58-C3D0-4C65-8EFF-853A73FCFEC2}" srcOrd="2" destOrd="0" parTransId="{5951E394-B4DE-4746-BB75-DB8F5ACD33B5}" sibTransId="{85CA90B1-F124-4F5A-8FA3-B581DE6DC355}"/>
    <dgm:cxn modelId="{568A89C5-7B33-40A9-8C1B-D3C8F3CB8720}" type="presOf" srcId="{29EA4F0B-46D3-4201-B639-A85ABC41BD73}" destId="{C8F151E7-982D-4C74-A677-6EECCA073C13}" srcOrd="0" destOrd="0" presId="urn:microsoft.com/office/officeart/2005/8/layout/chevronAccent+Icon"/>
    <dgm:cxn modelId="{715165CC-1FB4-421C-912B-57051922609F}" srcId="{29EA4F0B-46D3-4201-B639-A85ABC41BD73}" destId="{8F349396-A8C3-4080-A0DA-C96009C604FD}" srcOrd="1" destOrd="0" parTransId="{E49534C2-29BF-42C5-9032-9F40514BA3B3}" sibTransId="{94C61F0F-5E42-4949-88E2-16B41EC04771}"/>
    <dgm:cxn modelId="{22EEBBDA-6D62-4D29-BC9B-46C13CBEBE47}" type="presOf" srcId="{7A641774-4A66-4AB0-AA7C-CDB949B9DF00}" destId="{A47C43F3-21FD-4F8F-964A-6B8096F5114A}" srcOrd="0" destOrd="0" presId="urn:microsoft.com/office/officeart/2005/8/layout/chevronAccent+Icon"/>
    <dgm:cxn modelId="{1C6EC0DA-0076-4B8B-9032-A1E86327A4AE}" type="presOf" srcId="{8682D599-A1BC-452A-84AB-2618D1504142}" destId="{637ED223-C7C6-40C2-8A61-02C658CF3A2F}" srcOrd="0" destOrd="0" presId="urn:microsoft.com/office/officeart/2005/8/layout/chevronAccent+Icon"/>
    <dgm:cxn modelId="{EC467AB4-BFAB-4EE1-AA89-29A9DCAF6F62}" type="presParOf" srcId="{C8F151E7-982D-4C74-A677-6EECCA073C13}" destId="{49CF1AC0-37A5-4F23-9E1F-75BCE0AEEF53}" srcOrd="0" destOrd="0" presId="urn:microsoft.com/office/officeart/2005/8/layout/chevronAccent+Icon"/>
    <dgm:cxn modelId="{B0B60157-274E-4E6E-8796-C3AF8A4FC0E9}" type="presParOf" srcId="{49CF1AC0-37A5-4F23-9E1F-75BCE0AEEF53}" destId="{72F4F28F-5A40-4446-B73F-24FA8C091425}" srcOrd="0" destOrd="0" presId="urn:microsoft.com/office/officeart/2005/8/layout/chevronAccent+Icon"/>
    <dgm:cxn modelId="{5B3343EA-54EF-424F-9B11-546F8A8E5DAA}" type="presParOf" srcId="{49CF1AC0-37A5-4F23-9E1F-75BCE0AEEF53}" destId="{637ED223-C7C6-40C2-8A61-02C658CF3A2F}" srcOrd="1" destOrd="0" presId="urn:microsoft.com/office/officeart/2005/8/layout/chevronAccent+Icon"/>
    <dgm:cxn modelId="{54631C09-56A8-42B1-8226-B3BC4920DF53}" type="presParOf" srcId="{C8F151E7-982D-4C74-A677-6EECCA073C13}" destId="{7D79CC61-D7BE-4C27-A6F1-CD065F0F39F6}" srcOrd="1" destOrd="0" presId="urn:microsoft.com/office/officeart/2005/8/layout/chevronAccent+Icon"/>
    <dgm:cxn modelId="{AF925F7B-BC2C-4974-921C-40F593BA6707}" type="presParOf" srcId="{C8F151E7-982D-4C74-A677-6EECCA073C13}" destId="{E7020CFC-C224-484C-BE46-4F3029BAB996}" srcOrd="2" destOrd="0" presId="urn:microsoft.com/office/officeart/2005/8/layout/chevronAccent+Icon"/>
    <dgm:cxn modelId="{07753693-B72A-4483-8075-5B0ECB3F0C70}" type="presParOf" srcId="{E7020CFC-C224-484C-BE46-4F3029BAB996}" destId="{5342529E-9947-4A14-8F56-492B85601A2B}" srcOrd="0" destOrd="0" presId="urn:microsoft.com/office/officeart/2005/8/layout/chevronAccent+Icon"/>
    <dgm:cxn modelId="{BA7E1921-16E9-4D78-A745-8240B247D881}" type="presParOf" srcId="{E7020CFC-C224-484C-BE46-4F3029BAB996}" destId="{8C67DA84-B66B-491D-A739-E7FDB8FE7E68}" srcOrd="1" destOrd="0" presId="urn:microsoft.com/office/officeart/2005/8/layout/chevronAccent+Icon"/>
    <dgm:cxn modelId="{E96DCD36-4C6F-4893-AC92-80250070E55A}" type="presParOf" srcId="{C8F151E7-982D-4C74-A677-6EECCA073C13}" destId="{3B875673-36EC-4B81-A4D4-AB11F0773686}" srcOrd="3" destOrd="0" presId="urn:microsoft.com/office/officeart/2005/8/layout/chevronAccent+Icon"/>
    <dgm:cxn modelId="{22907ED0-5DBF-4C15-9643-B8C0E5D6177E}" type="presParOf" srcId="{C8F151E7-982D-4C74-A677-6EECCA073C13}" destId="{7C313287-984F-49F1-AF06-689716C0FFB7}" srcOrd="4" destOrd="0" presId="urn:microsoft.com/office/officeart/2005/8/layout/chevronAccent+Icon"/>
    <dgm:cxn modelId="{F167004D-C1CC-4653-8136-B2AFADF197D1}" type="presParOf" srcId="{7C313287-984F-49F1-AF06-689716C0FFB7}" destId="{7F6E88C1-BE67-45F6-900E-E4740C34D4F6}" srcOrd="0" destOrd="0" presId="urn:microsoft.com/office/officeart/2005/8/layout/chevronAccent+Icon"/>
    <dgm:cxn modelId="{2C8350BE-8053-4943-BE57-ED17087014C9}" type="presParOf" srcId="{7C313287-984F-49F1-AF06-689716C0FFB7}" destId="{899870CB-525E-4B98-B3BF-BFFC0EBA3FD8}" srcOrd="1" destOrd="0" presId="urn:microsoft.com/office/officeart/2005/8/layout/chevronAccent+Icon"/>
    <dgm:cxn modelId="{8AB3C66A-0CF0-46B4-85FF-72A62651CC8C}" type="presParOf" srcId="{C8F151E7-982D-4C74-A677-6EECCA073C13}" destId="{CC33D81B-6C98-474D-9D78-A89FA0F9F118}" srcOrd="5" destOrd="0" presId="urn:microsoft.com/office/officeart/2005/8/layout/chevronAccent+Icon"/>
    <dgm:cxn modelId="{80BE5AF0-262F-426D-A7F6-159A7FD907D7}" type="presParOf" srcId="{C8F151E7-982D-4C74-A677-6EECCA073C13}" destId="{2F0D080D-4CAB-462E-B6F5-F04AB3B21F71}" srcOrd="6" destOrd="0" presId="urn:microsoft.com/office/officeart/2005/8/layout/chevronAccent+Icon"/>
    <dgm:cxn modelId="{B32ED2F4-EE31-4311-A0DE-8C2CA59906DC}" type="presParOf" srcId="{2F0D080D-4CAB-462E-B6F5-F04AB3B21F71}" destId="{4D485240-D5B2-44FE-BA3F-37ACB8DECDD1}" srcOrd="0" destOrd="0" presId="urn:microsoft.com/office/officeart/2005/8/layout/chevronAccent+Icon"/>
    <dgm:cxn modelId="{1B2495E9-B6A6-4EFF-807A-4AF3E08CFD10}" type="presParOf" srcId="{2F0D080D-4CAB-462E-B6F5-F04AB3B21F71}" destId="{A47C43F3-21FD-4F8F-964A-6B8096F5114A}"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72B035-9F52-4790-8B5D-199730CF19BA}">
      <dsp:nvSpPr>
        <dsp:cNvPr id="0" name=""/>
        <dsp:cNvSpPr/>
      </dsp:nvSpPr>
      <dsp:spPr>
        <a:xfrm>
          <a:off x="274235"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BF91BAC-ECA6-4C79-9708-15486434BF45}">
      <dsp:nvSpPr>
        <dsp:cNvPr id="0" name=""/>
        <dsp:cNvSpPr/>
      </dsp:nvSpPr>
      <dsp:spPr>
        <a:xfrm>
          <a:off x="561486" y="919542"/>
          <a:ext cx="793360" cy="79336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E8C66AA-64F9-42CB-994A-877204F1C26D}">
      <dsp:nvSpPr>
        <dsp:cNvPr id="0" name=""/>
        <dsp:cNvSpPr/>
      </dsp:nvSpPr>
      <dsp:spPr>
        <a:xfrm>
          <a:off x="1935212"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US" sz="2000" kern="1200"/>
            <a:t>Reversible obfuscation of data</a:t>
          </a:r>
        </a:p>
      </dsp:txBody>
      <dsp:txXfrm>
        <a:off x="1935212" y="632291"/>
        <a:ext cx="3224249" cy="1367863"/>
      </dsp:txXfrm>
    </dsp:sp>
    <dsp:sp modelId="{46070F63-D7F9-43DC-A14D-22F7B23C6EBF}">
      <dsp:nvSpPr>
        <dsp:cNvPr id="0" name=""/>
        <dsp:cNvSpPr/>
      </dsp:nvSpPr>
      <dsp:spPr>
        <a:xfrm>
          <a:off x="5721263"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0418D9B-9AF9-429C-BCBA-88A8142E3C94}">
      <dsp:nvSpPr>
        <dsp:cNvPr id="0" name=""/>
        <dsp:cNvSpPr/>
      </dsp:nvSpPr>
      <dsp:spPr>
        <a:xfrm>
          <a:off x="6008514" y="919542"/>
          <a:ext cx="793360" cy="7933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5FE24D8-1613-4B78-BE01-C727CD50A4C0}">
      <dsp:nvSpPr>
        <dsp:cNvPr id="0" name=""/>
        <dsp:cNvSpPr/>
      </dsp:nvSpPr>
      <dsp:spPr>
        <a:xfrm>
          <a:off x="7382240"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US" sz="2000" kern="1200"/>
            <a:t>Reversal depends on a key</a:t>
          </a:r>
        </a:p>
      </dsp:txBody>
      <dsp:txXfrm>
        <a:off x="7382240" y="632291"/>
        <a:ext cx="3224249" cy="1367863"/>
      </dsp:txXfrm>
    </dsp:sp>
    <dsp:sp modelId="{6B1581A0-04BE-444A-8654-33E0D336A19B}">
      <dsp:nvSpPr>
        <dsp:cNvPr id="0" name=""/>
        <dsp:cNvSpPr/>
      </dsp:nvSpPr>
      <dsp:spPr>
        <a:xfrm>
          <a:off x="274235"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C7F1A7-ED06-446A-9AA2-C5FF2E913A3B}">
      <dsp:nvSpPr>
        <dsp:cNvPr id="0" name=""/>
        <dsp:cNvSpPr/>
      </dsp:nvSpPr>
      <dsp:spPr>
        <a:xfrm>
          <a:off x="561486" y="3106746"/>
          <a:ext cx="793360" cy="79336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065018E-6FF3-4A81-98E2-C9515E0479B3}">
      <dsp:nvSpPr>
        <dsp:cNvPr id="0" name=""/>
        <dsp:cNvSpPr/>
      </dsp:nvSpPr>
      <dsp:spPr>
        <a:xfrm>
          <a:off x="1935212"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US" sz="2000" kern="1200"/>
            <a:t>Plaintext is encrypted using an encryption algorithm to generate ciphertext</a:t>
          </a:r>
        </a:p>
      </dsp:txBody>
      <dsp:txXfrm>
        <a:off x="1935212" y="2819495"/>
        <a:ext cx="3224249" cy="1367863"/>
      </dsp:txXfrm>
    </dsp:sp>
    <dsp:sp modelId="{0ECF2A2F-978A-44FF-9777-1F0EF1625FDD}">
      <dsp:nvSpPr>
        <dsp:cNvPr id="0" name=""/>
        <dsp:cNvSpPr/>
      </dsp:nvSpPr>
      <dsp:spPr>
        <a:xfrm>
          <a:off x="5721263"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FFF84A4-571B-484C-A11D-1899141BDCAB}">
      <dsp:nvSpPr>
        <dsp:cNvPr id="0" name=""/>
        <dsp:cNvSpPr/>
      </dsp:nvSpPr>
      <dsp:spPr>
        <a:xfrm>
          <a:off x="6008514" y="3106746"/>
          <a:ext cx="793360" cy="79336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9D444B2-C795-4423-9A45-5A8AFA51A48C}">
      <dsp:nvSpPr>
        <dsp:cNvPr id="0" name=""/>
        <dsp:cNvSpPr/>
      </dsp:nvSpPr>
      <dsp:spPr>
        <a:xfrm>
          <a:off x="7382240"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US" sz="2000" kern="1200"/>
            <a:t>Only part of an overall security plan</a:t>
          </a:r>
        </a:p>
      </dsp:txBody>
      <dsp:txXfrm>
        <a:off x="7382240" y="2819495"/>
        <a:ext cx="3224249" cy="136786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C7B29-5E29-475E-8D25-05B3DF5F7EF1}">
      <dsp:nvSpPr>
        <dsp:cNvPr id="0" name=""/>
        <dsp:cNvSpPr/>
      </dsp:nvSpPr>
      <dsp:spPr>
        <a:xfrm>
          <a:off x="0" y="26625"/>
          <a:ext cx="10937449" cy="772200"/>
        </a:xfrm>
        <a:prstGeom prst="round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t>Randomized</a:t>
          </a:r>
        </a:p>
      </dsp:txBody>
      <dsp:txXfrm>
        <a:off x="37696" y="64321"/>
        <a:ext cx="10862057" cy="696808"/>
      </dsp:txXfrm>
    </dsp:sp>
    <dsp:sp modelId="{347DDF72-833B-4D71-9AB8-B1CAECC008C2}">
      <dsp:nvSpPr>
        <dsp:cNvPr id="0" name=""/>
        <dsp:cNvSpPr/>
      </dsp:nvSpPr>
      <dsp:spPr>
        <a:xfrm>
          <a:off x="0" y="798825"/>
          <a:ext cx="10937449" cy="130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264"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a:t>Unpredictable results, more secure</a:t>
          </a:r>
        </a:p>
        <a:p>
          <a:pPr marL="228600" lvl="1" indent="-228600" algn="l" defTabSz="1022350">
            <a:lnSpc>
              <a:spcPct val="90000"/>
            </a:lnSpc>
            <a:spcBef>
              <a:spcPct val="0"/>
            </a:spcBef>
            <a:spcAft>
              <a:spcPct val="20000"/>
            </a:spcAft>
            <a:buChar char="•"/>
          </a:pPr>
          <a:r>
            <a:rPr lang="en-US" sz="2300" kern="1200" dirty="0"/>
            <a:t>No support for equality searches, joins, grouping, or indexing</a:t>
          </a:r>
        </a:p>
        <a:p>
          <a:pPr marL="228600" lvl="1" indent="-228600" algn="l" defTabSz="1022350">
            <a:lnSpc>
              <a:spcPct val="90000"/>
            </a:lnSpc>
            <a:spcBef>
              <a:spcPct val="0"/>
            </a:spcBef>
            <a:spcAft>
              <a:spcPct val="20000"/>
            </a:spcAft>
            <a:buChar char="•"/>
          </a:pPr>
          <a:r>
            <a:rPr lang="en-US" sz="2300" kern="1200"/>
            <a:t>Use for data that is returned, but not queried</a:t>
          </a:r>
        </a:p>
      </dsp:txBody>
      <dsp:txXfrm>
        <a:off x="0" y="798825"/>
        <a:ext cx="10937449" cy="1304100"/>
      </dsp:txXfrm>
    </dsp:sp>
    <dsp:sp modelId="{60288A71-040D-49F0-9C9C-D3A0AF3A1D2D}">
      <dsp:nvSpPr>
        <dsp:cNvPr id="0" name=""/>
        <dsp:cNvSpPr/>
      </dsp:nvSpPr>
      <dsp:spPr>
        <a:xfrm>
          <a:off x="0" y="2102925"/>
          <a:ext cx="10937449" cy="772200"/>
        </a:xfrm>
        <a:prstGeom prst="roundRect">
          <a:avLst/>
        </a:prstGeom>
        <a:solidFill>
          <a:schemeClr val="accent3">
            <a:hueOff val="2017870"/>
            <a:satOff val="0"/>
            <a:lumOff val="1000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t>Deterministic</a:t>
          </a:r>
        </a:p>
      </dsp:txBody>
      <dsp:txXfrm>
        <a:off x="37696" y="2140621"/>
        <a:ext cx="10862057" cy="696808"/>
      </dsp:txXfrm>
    </dsp:sp>
    <dsp:sp modelId="{15059464-07DD-4E25-9393-A670A9C95EF8}">
      <dsp:nvSpPr>
        <dsp:cNvPr id="0" name=""/>
        <dsp:cNvSpPr/>
      </dsp:nvSpPr>
      <dsp:spPr>
        <a:xfrm>
          <a:off x="0" y="2875125"/>
          <a:ext cx="10937449" cy="1738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264" tIns="38100" rIns="213360" bIns="38100" numCol="1" spcCol="1270" anchor="t" anchorCtr="0">
          <a:noAutofit/>
        </a:bodyPr>
        <a:lstStyle/>
        <a:p>
          <a:pPr marL="228600" lvl="1" indent="-228600" algn="l" defTabSz="1022350">
            <a:lnSpc>
              <a:spcPct val="90000"/>
            </a:lnSpc>
            <a:spcBef>
              <a:spcPct val="0"/>
            </a:spcBef>
            <a:spcAft>
              <a:spcPct val="20000"/>
            </a:spcAft>
            <a:buChar char="•"/>
          </a:pPr>
          <a:r>
            <a:rPr lang="en-US" sz="2300" kern="1200"/>
            <a:t>Predictable results, less secure</a:t>
          </a:r>
        </a:p>
        <a:p>
          <a:pPr marL="228600" lvl="1" indent="-228600" algn="l" defTabSz="1022350">
            <a:lnSpc>
              <a:spcPct val="90000"/>
            </a:lnSpc>
            <a:spcBef>
              <a:spcPct val="0"/>
            </a:spcBef>
            <a:spcAft>
              <a:spcPct val="20000"/>
            </a:spcAft>
            <a:buChar char="•"/>
          </a:pPr>
          <a:r>
            <a:rPr lang="en-US" sz="2300" kern="1200"/>
            <a:t>Use for data that must be queried (equality support only)</a:t>
          </a:r>
        </a:p>
        <a:p>
          <a:pPr marL="228600" lvl="1" indent="-228600" algn="l" defTabSz="1022350">
            <a:lnSpc>
              <a:spcPct val="90000"/>
            </a:lnSpc>
            <a:spcBef>
              <a:spcPct val="0"/>
            </a:spcBef>
            <a:spcAft>
              <a:spcPct val="20000"/>
            </a:spcAft>
            <a:buChar char="•"/>
          </a:pPr>
          <a:r>
            <a:rPr lang="en-US" sz="2300" kern="1200"/>
            <a:t>Easier to guess by examining encryption results</a:t>
          </a:r>
        </a:p>
        <a:p>
          <a:pPr marL="457200" lvl="2" indent="-228600" algn="l" defTabSz="1022350">
            <a:lnSpc>
              <a:spcPct val="90000"/>
            </a:lnSpc>
            <a:spcBef>
              <a:spcPct val="0"/>
            </a:spcBef>
            <a:spcAft>
              <a:spcPct val="20000"/>
            </a:spcAft>
            <a:buChar char="•"/>
          </a:pPr>
          <a:r>
            <a:rPr lang="en-US" sz="2300" kern="1200"/>
            <a:t>Increased risk for small value sets (True/False)</a:t>
          </a:r>
        </a:p>
      </dsp:txBody>
      <dsp:txXfrm>
        <a:off x="0" y="2875125"/>
        <a:ext cx="10937449" cy="17388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A4895-6922-438E-872C-0271BF342164}">
      <dsp:nvSpPr>
        <dsp:cNvPr id="0" name=""/>
        <dsp:cNvSpPr/>
      </dsp:nvSpPr>
      <dsp:spPr>
        <a:xfrm>
          <a:off x="0" y="1023272"/>
          <a:ext cx="2838047"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71120" rIns="199136" bIns="71120" numCol="1" spcCol="1270" anchor="ctr" anchorCtr="0">
          <a:noAutofit/>
        </a:bodyPr>
        <a:lstStyle/>
        <a:p>
          <a:pPr marL="0" lvl="0" indent="0" algn="r" defTabSz="1244600">
            <a:lnSpc>
              <a:spcPct val="90000"/>
            </a:lnSpc>
            <a:spcBef>
              <a:spcPct val="0"/>
            </a:spcBef>
            <a:spcAft>
              <a:spcPct val="35000"/>
            </a:spcAft>
            <a:buNone/>
          </a:pPr>
          <a:r>
            <a:rPr lang="en-US" sz="2800" kern="1200" baseline="0" dirty="0"/>
            <a:t>Randomized encryption</a:t>
          </a:r>
          <a:endParaRPr lang="en-US" sz="2800" kern="1200" dirty="0"/>
        </a:p>
      </dsp:txBody>
      <dsp:txXfrm>
        <a:off x="0" y="1023272"/>
        <a:ext cx="2838047" cy="1287000"/>
      </dsp:txXfrm>
    </dsp:sp>
    <dsp:sp modelId="{EA84DBCB-411A-489A-8BFF-1C659C6DADF3}">
      <dsp:nvSpPr>
        <dsp:cNvPr id="0" name=""/>
        <dsp:cNvSpPr/>
      </dsp:nvSpPr>
      <dsp:spPr>
        <a:xfrm>
          <a:off x="2838047" y="882506"/>
          <a:ext cx="567609" cy="1568531"/>
        </a:xfrm>
        <a:prstGeom prst="leftBrace">
          <a:avLst>
            <a:gd name="adj1" fmla="val 35000"/>
            <a:gd name="adj2" fmla="val 50000"/>
          </a:avLst>
        </a:prstGeom>
        <a:noFill/>
        <a:ln w="10795"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3D9BE4E-E4D6-424E-9F61-C8B937AD3192}">
      <dsp:nvSpPr>
        <dsp:cNvPr id="0" name=""/>
        <dsp:cNvSpPr/>
      </dsp:nvSpPr>
      <dsp:spPr>
        <a:xfrm>
          <a:off x="3632700" y="882506"/>
          <a:ext cx="7719489" cy="156853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dirty="0"/>
            <a:t>Encrypt (‘123-45-6789’) = 0x0123A99C</a:t>
          </a:r>
          <a:endParaRPr lang="en-US" sz="2800" kern="1200" dirty="0"/>
        </a:p>
        <a:p>
          <a:pPr marL="285750" lvl="1" indent="-285750" algn="l" defTabSz="1244600">
            <a:lnSpc>
              <a:spcPct val="90000"/>
            </a:lnSpc>
            <a:spcBef>
              <a:spcPct val="0"/>
            </a:spcBef>
            <a:spcAft>
              <a:spcPct val="15000"/>
            </a:spcAft>
            <a:buChar char="•"/>
          </a:pPr>
          <a:r>
            <a:rPr lang="en-US" sz="2800" kern="1200" baseline="0" dirty="0"/>
            <a:t>Repeat: Encrypt (‘123-45-6789’) = 0x01EB449B</a:t>
          </a:r>
          <a:endParaRPr lang="en-US" sz="2800" kern="1200" dirty="0"/>
        </a:p>
      </dsp:txBody>
      <dsp:txXfrm>
        <a:off x="3632700" y="882506"/>
        <a:ext cx="7719489" cy="1568531"/>
      </dsp:txXfrm>
    </dsp:sp>
    <dsp:sp modelId="{A2E71D03-E925-49C5-9F53-45DBEB8DC6F8}">
      <dsp:nvSpPr>
        <dsp:cNvPr id="0" name=""/>
        <dsp:cNvSpPr/>
      </dsp:nvSpPr>
      <dsp:spPr>
        <a:xfrm>
          <a:off x="0" y="2685037"/>
          <a:ext cx="2838047"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71120" rIns="199136" bIns="71120" numCol="1" spcCol="1270" anchor="ctr" anchorCtr="0">
          <a:noAutofit/>
        </a:bodyPr>
        <a:lstStyle/>
        <a:p>
          <a:pPr marL="0" lvl="0" indent="0" algn="r" defTabSz="1244600">
            <a:lnSpc>
              <a:spcPct val="90000"/>
            </a:lnSpc>
            <a:spcBef>
              <a:spcPct val="0"/>
            </a:spcBef>
            <a:spcAft>
              <a:spcPct val="35000"/>
            </a:spcAft>
            <a:buNone/>
          </a:pPr>
          <a:r>
            <a:rPr lang="en-US" sz="2800" kern="1200" baseline="0"/>
            <a:t>Deterministic encryption</a:t>
          </a:r>
          <a:endParaRPr lang="en-US" sz="2800" kern="1200"/>
        </a:p>
      </dsp:txBody>
      <dsp:txXfrm>
        <a:off x="0" y="2685037"/>
        <a:ext cx="2838047" cy="1287000"/>
      </dsp:txXfrm>
    </dsp:sp>
    <dsp:sp modelId="{B04C8C7A-2CD6-4840-8A28-C625F7CBF6E1}">
      <dsp:nvSpPr>
        <dsp:cNvPr id="0" name=""/>
        <dsp:cNvSpPr/>
      </dsp:nvSpPr>
      <dsp:spPr>
        <a:xfrm>
          <a:off x="2838047" y="2685037"/>
          <a:ext cx="567609" cy="1287000"/>
        </a:xfrm>
        <a:prstGeom prst="leftBrace">
          <a:avLst>
            <a:gd name="adj1" fmla="val 35000"/>
            <a:gd name="adj2" fmla="val 50000"/>
          </a:avLst>
        </a:prstGeom>
        <a:noFill/>
        <a:ln w="10795"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D317EF0-CD9D-4942-9CDC-F01CEDD46E3A}">
      <dsp:nvSpPr>
        <dsp:cNvPr id="0" name=""/>
        <dsp:cNvSpPr/>
      </dsp:nvSpPr>
      <dsp:spPr>
        <a:xfrm>
          <a:off x="3632700" y="2685037"/>
          <a:ext cx="7719489" cy="1287000"/>
        </a:xfrm>
        <a:prstGeom prst="rect">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dirty="0"/>
            <a:t>Encrypt (‘123-45-6789’) = 0x17cfd50a</a:t>
          </a:r>
          <a:endParaRPr lang="en-US" sz="2800" kern="1200" dirty="0"/>
        </a:p>
        <a:p>
          <a:pPr marL="285750" lvl="1" indent="-285750" algn="l" defTabSz="1244600">
            <a:lnSpc>
              <a:spcPct val="90000"/>
            </a:lnSpc>
            <a:spcBef>
              <a:spcPct val="0"/>
            </a:spcBef>
            <a:spcAft>
              <a:spcPct val="15000"/>
            </a:spcAft>
            <a:buChar char="•"/>
          </a:pPr>
          <a:r>
            <a:rPr lang="en-US" sz="2800" kern="1200" baseline="0" dirty="0"/>
            <a:t>Repeat: Encrypt (‘123-45-6789’) = 0x17cfd50a</a:t>
          </a:r>
          <a:endParaRPr lang="en-US" sz="2800" kern="1200" dirty="0"/>
        </a:p>
      </dsp:txBody>
      <dsp:txXfrm>
        <a:off x="3632700" y="2685037"/>
        <a:ext cx="7719489" cy="12870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2C2FCE-6EB0-4C96-9930-D72458DCB76A}">
      <dsp:nvSpPr>
        <dsp:cNvPr id="0" name=""/>
        <dsp:cNvSpPr/>
      </dsp:nvSpPr>
      <dsp:spPr>
        <a:xfrm>
          <a:off x="0" y="783082"/>
          <a:ext cx="10879183" cy="144569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8345DF1-9FC5-4EB6-9C02-2374998C02EE}">
      <dsp:nvSpPr>
        <dsp:cNvPr id="0" name=""/>
        <dsp:cNvSpPr/>
      </dsp:nvSpPr>
      <dsp:spPr>
        <a:xfrm>
          <a:off x="437321" y="1108362"/>
          <a:ext cx="795129" cy="79512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DFF30FE-D08C-429E-8E22-88F9C16AF1F5}">
      <dsp:nvSpPr>
        <dsp:cNvPr id="0" name=""/>
        <dsp:cNvSpPr/>
      </dsp:nvSpPr>
      <dsp:spPr>
        <a:xfrm>
          <a:off x="1669772" y="783082"/>
          <a:ext cx="9209410" cy="14456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002" tIns="153002" rIns="153002" bIns="153002" numCol="1" spcCol="1270" anchor="ctr" anchorCtr="0">
          <a:noAutofit/>
        </a:bodyPr>
        <a:lstStyle/>
        <a:p>
          <a:pPr marL="0" lvl="0" indent="0" algn="l" defTabSz="1066800">
            <a:lnSpc>
              <a:spcPct val="90000"/>
            </a:lnSpc>
            <a:spcBef>
              <a:spcPct val="0"/>
            </a:spcBef>
            <a:spcAft>
              <a:spcPct val="35000"/>
            </a:spcAft>
            <a:buNone/>
          </a:pPr>
          <a:r>
            <a:rPr lang="en-US" sz="2400" kern="1200" dirty="0"/>
            <a:t>Always Encrypted uses the AEAD_AES_256_CBC_HMAC_SHA_256 algorithm to encrypt data in the database</a:t>
          </a:r>
        </a:p>
      </dsp:txBody>
      <dsp:txXfrm>
        <a:off x="1669772" y="783082"/>
        <a:ext cx="9209410" cy="1445690"/>
      </dsp:txXfrm>
    </dsp:sp>
    <dsp:sp modelId="{71278F28-C4D9-4153-B891-9C8C5B8BADC2}">
      <dsp:nvSpPr>
        <dsp:cNvPr id="0" name=""/>
        <dsp:cNvSpPr/>
      </dsp:nvSpPr>
      <dsp:spPr>
        <a:xfrm>
          <a:off x="0" y="2590194"/>
          <a:ext cx="10879183" cy="144569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CC87A88-551E-4272-B70E-F9752AD1B432}">
      <dsp:nvSpPr>
        <dsp:cNvPr id="0" name=""/>
        <dsp:cNvSpPr/>
      </dsp:nvSpPr>
      <dsp:spPr>
        <a:xfrm>
          <a:off x="437321" y="2915475"/>
          <a:ext cx="795129" cy="79512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585D174-F583-42FD-8618-84136D49E6EE}">
      <dsp:nvSpPr>
        <dsp:cNvPr id="0" name=""/>
        <dsp:cNvSpPr/>
      </dsp:nvSpPr>
      <dsp:spPr>
        <a:xfrm>
          <a:off x="1669772" y="2590194"/>
          <a:ext cx="9209410" cy="14456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002" tIns="153002" rIns="153002" bIns="153002" numCol="1" spcCol="1270" anchor="ctr" anchorCtr="0">
          <a:noAutofit/>
        </a:bodyPr>
        <a:lstStyle/>
        <a:p>
          <a:pPr marL="0" lvl="0" indent="0" algn="l" defTabSz="1066800">
            <a:lnSpc>
              <a:spcPct val="90000"/>
            </a:lnSpc>
            <a:spcBef>
              <a:spcPct val="0"/>
            </a:spcBef>
            <a:spcAft>
              <a:spcPct val="35000"/>
            </a:spcAft>
            <a:buNone/>
          </a:pPr>
          <a:r>
            <a:rPr lang="en-US" sz="2400" kern="1200"/>
            <a:t>Ciphertext length varies depends on the data type</a:t>
          </a:r>
        </a:p>
      </dsp:txBody>
      <dsp:txXfrm>
        <a:off x="1669772" y="2590194"/>
        <a:ext cx="9209410" cy="144569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3035E-4550-4E1B-98D0-6711C3578068}">
      <dsp:nvSpPr>
        <dsp:cNvPr id="0" name=""/>
        <dsp:cNvSpPr/>
      </dsp:nvSpPr>
      <dsp:spPr>
        <a:xfrm>
          <a:off x="0" y="326883"/>
          <a:ext cx="10879183" cy="1197000"/>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345" tIns="416560" rIns="84434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xml, </a:t>
          </a:r>
          <a:r>
            <a:rPr lang="en-US" sz="2000" kern="1200" baseline="0" err="1"/>
            <a:t>hierarchyid</a:t>
          </a:r>
          <a:r>
            <a:rPr lang="en-US" sz="2000" kern="1200" baseline="0"/>
            <a:t>, </a:t>
          </a:r>
          <a:r>
            <a:rPr lang="en-US" sz="2000" kern="1200" baseline="0" err="1"/>
            <a:t>rowversion</a:t>
          </a:r>
          <a:r>
            <a:rPr lang="en-US" sz="2000" kern="1200" baseline="0"/>
            <a:t>, image, text, </a:t>
          </a:r>
          <a:r>
            <a:rPr lang="en-US" sz="2000" kern="1200" baseline="0" err="1"/>
            <a:t>ntext</a:t>
          </a:r>
          <a:r>
            <a:rPr lang="en-US" sz="2000" kern="1200" baseline="0"/>
            <a:t>, geography, geometry, user-defined types, or </a:t>
          </a:r>
          <a:r>
            <a:rPr lang="en-US" sz="2000" kern="1200" baseline="0" err="1"/>
            <a:t>sql_variant</a:t>
          </a:r>
          <a:endParaRPr lang="en-US" sz="2000" kern="1200"/>
        </a:p>
      </dsp:txBody>
      <dsp:txXfrm>
        <a:off x="0" y="326883"/>
        <a:ext cx="10879183" cy="1197000"/>
      </dsp:txXfrm>
    </dsp:sp>
    <dsp:sp modelId="{6306CD7C-63CF-43E8-9741-0106DEE891DF}">
      <dsp:nvSpPr>
        <dsp:cNvPr id="0" name=""/>
        <dsp:cNvSpPr/>
      </dsp:nvSpPr>
      <dsp:spPr>
        <a:xfrm>
          <a:off x="543959" y="31683"/>
          <a:ext cx="9489965" cy="590400"/>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87845" tIns="0" rIns="287845"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Not supported when columns use any of these datatypes</a:t>
          </a:r>
          <a:endParaRPr lang="en-US" sz="2400" kern="1200" dirty="0"/>
        </a:p>
      </dsp:txBody>
      <dsp:txXfrm>
        <a:off x="572780" y="60504"/>
        <a:ext cx="9432323" cy="532758"/>
      </dsp:txXfrm>
    </dsp:sp>
    <dsp:sp modelId="{073BB653-6F43-4241-8F25-A2353636968E}">
      <dsp:nvSpPr>
        <dsp:cNvPr id="0" name=""/>
        <dsp:cNvSpPr/>
      </dsp:nvSpPr>
      <dsp:spPr>
        <a:xfrm>
          <a:off x="0" y="1927083"/>
          <a:ext cx="10879183" cy="1228500"/>
        </a:xfrm>
        <a:prstGeom prst="rect">
          <a:avLst/>
        </a:prstGeom>
        <a:solidFill>
          <a:schemeClr val="lt1">
            <a:alpha val="90000"/>
            <a:hueOff val="0"/>
            <a:satOff val="0"/>
            <a:lumOff val="0"/>
            <a:alphaOff val="0"/>
          </a:schemeClr>
        </a:solidFill>
        <a:ln w="10795" cap="flat" cmpd="sng" algn="ctr">
          <a:solidFill>
            <a:schemeClr val="accent2">
              <a:hueOff val="-1333748"/>
              <a:satOff val="27691"/>
              <a:lumOff val="29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345" tIns="416560" rIns="84434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FOR XML </a:t>
          </a:r>
          <a:endParaRPr lang="en-US" sz="2000" kern="1200"/>
        </a:p>
        <a:p>
          <a:pPr marL="228600" lvl="1" indent="-228600" algn="l" defTabSz="889000">
            <a:lnSpc>
              <a:spcPct val="90000"/>
            </a:lnSpc>
            <a:spcBef>
              <a:spcPct val="0"/>
            </a:spcBef>
            <a:spcAft>
              <a:spcPct val="15000"/>
            </a:spcAft>
            <a:buChar char="•"/>
          </a:pPr>
          <a:r>
            <a:rPr lang="en-US" sz="2000" kern="1200" baseline="0"/>
            <a:t>FOR JSON PATH</a:t>
          </a:r>
          <a:endParaRPr lang="en-US" sz="2000" kern="1200"/>
        </a:p>
      </dsp:txBody>
      <dsp:txXfrm>
        <a:off x="0" y="1927083"/>
        <a:ext cx="10879183" cy="1228500"/>
      </dsp:txXfrm>
    </dsp:sp>
    <dsp:sp modelId="{50EA6DEA-6355-49F2-8CDB-32F5F1EF41ED}">
      <dsp:nvSpPr>
        <dsp:cNvPr id="0" name=""/>
        <dsp:cNvSpPr/>
      </dsp:nvSpPr>
      <dsp:spPr>
        <a:xfrm>
          <a:off x="543959" y="1631883"/>
          <a:ext cx="9489965" cy="590400"/>
        </a:xfrm>
        <a:prstGeom prst="roundRect">
          <a:avLst/>
        </a:prstGeom>
        <a:solidFill>
          <a:schemeClr val="accent2">
            <a:hueOff val="-1333748"/>
            <a:satOff val="27691"/>
            <a:lumOff val="294"/>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87845" tIns="0" rIns="287845" bIns="0" numCol="1" spcCol="1270" anchor="ctr" anchorCtr="0">
          <a:noAutofit/>
        </a:bodyPr>
        <a:lstStyle/>
        <a:p>
          <a:pPr marL="0" lvl="0" indent="0" algn="l" defTabSz="1066800">
            <a:lnSpc>
              <a:spcPct val="90000"/>
            </a:lnSpc>
            <a:spcBef>
              <a:spcPct val="0"/>
            </a:spcBef>
            <a:spcAft>
              <a:spcPct val="35000"/>
            </a:spcAft>
            <a:buNone/>
          </a:pPr>
          <a:r>
            <a:rPr lang="en-US" sz="2400" kern="1200" baseline="0"/>
            <a:t>Clauses that cannot be used for encrypted columns</a:t>
          </a:r>
          <a:endParaRPr lang="en-US" sz="2400" kern="1200"/>
        </a:p>
      </dsp:txBody>
      <dsp:txXfrm>
        <a:off x="572780" y="1660704"/>
        <a:ext cx="9432323" cy="532758"/>
      </dsp:txXfrm>
    </dsp:sp>
    <dsp:sp modelId="{6EB5E983-7483-4768-827A-AE2B79CD8BAA}">
      <dsp:nvSpPr>
        <dsp:cNvPr id="0" name=""/>
        <dsp:cNvSpPr/>
      </dsp:nvSpPr>
      <dsp:spPr>
        <a:xfrm>
          <a:off x="0" y="3558783"/>
          <a:ext cx="10879183" cy="1228500"/>
        </a:xfrm>
        <a:prstGeom prst="rect">
          <a:avLst/>
        </a:prstGeom>
        <a:solidFill>
          <a:schemeClr val="lt1">
            <a:alpha val="90000"/>
            <a:hueOff val="0"/>
            <a:satOff val="0"/>
            <a:lumOff val="0"/>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345" tIns="416560" rIns="84434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a:t>Transactional or merge replication</a:t>
          </a:r>
          <a:endParaRPr lang="en-US" sz="2000" kern="1200"/>
        </a:p>
        <a:p>
          <a:pPr marL="228600" lvl="1" indent="-228600" algn="l" defTabSz="889000">
            <a:lnSpc>
              <a:spcPct val="90000"/>
            </a:lnSpc>
            <a:spcBef>
              <a:spcPct val="0"/>
            </a:spcBef>
            <a:spcAft>
              <a:spcPct val="15000"/>
            </a:spcAft>
            <a:buChar char="•"/>
          </a:pPr>
          <a:r>
            <a:rPr lang="en-US" sz="2000" kern="1200" baseline="0"/>
            <a:t>Distributed queries (linked servers)</a:t>
          </a:r>
          <a:endParaRPr lang="en-US" sz="2000" kern="1200"/>
        </a:p>
      </dsp:txBody>
      <dsp:txXfrm>
        <a:off x="0" y="3558783"/>
        <a:ext cx="10879183" cy="1228500"/>
      </dsp:txXfrm>
    </dsp:sp>
    <dsp:sp modelId="{EFFD6812-716D-4A5D-9322-6B28E7DFD5B4}">
      <dsp:nvSpPr>
        <dsp:cNvPr id="0" name=""/>
        <dsp:cNvSpPr/>
      </dsp:nvSpPr>
      <dsp:spPr>
        <a:xfrm>
          <a:off x="543959" y="3263583"/>
          <a:ext cx="9489965" cy="590400"/>
        </a:xfrm>
        <a:prstGeom prst="roundRect">
          <a:avLst/>
        </a:prstGeom>
        <a:solidFill>
          <a:schemeClr val="accent2">
            <a:hueOff val="-2667497"/>
            <a:satOff val="55382"/>
            <a:lumOff val="588"/>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87845" tIns="0" rIns="287845" bIns="0" numCol="1" spcCol="1270" anchor="ctr" anchorCtr="0">
          <a:noAutofit/>
        </a:bodyPr>
        <a:lstStyle/>
        <a:p>
          <a:pPr marL="0" lvl="0" indent="0" algn="l" defTabSz="1066800">
            <a:lnSpc>
              <a:spcPct val="90000"/>
            </a:lnSpc>
            <a:spcBef>
              <a:spcPct val="0"/>
            </a:spcBef>
            <a:spcAft>
              <a:spcPct val="35000"/>
            </a:spcAft>
            <a:buNone/>
          </a:pPr>
          <a:r>
            <a:rPr lang="en-US" sz="2400" kern="1200" baseline="0"/>
            <a:t>Features that do not work on encrypted columns</a:t>
          </a:r>
          <a:endParaRPr lang="en-US" sz="2400" kern="1200"/>
        </a:p>
      </dsp:txBody>
      <dsp:txXfrm>
        <a:off x="572780" y="3292404"/>
        <a:ext cx="9432323" cy="53275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BDFBD0-E69C-4C6D-B846-3035E9FF7151}">
      <dsp:nvSpPr>
        <dsp:cNvPr id="0" name=""/>
        <dsp:cNvSpPr/>
      </dsp:nvSpPr>
      <dsp:spPr>
        <a:xfrm rot="5400000">
          <a:off x="6933830" y="-2898909"/>
          <a:ext cx="928027" cy="6962677"/>
        </a:xfrm>
        <a:prstGeom prst="round2SameRect">
          <a:avLst/>
        </a:prstGeom>
        <a:solidFill>
          <a:schemeClr val="accent2">
            <a:tint val="40000"/>
            <a:alpha val="90000"/>
            <a:hueOff val="0"/>
            <a:satOff val="0"/>
            <a:lumOff val="0"/>
            <a:alphaOff val="0"/>
          </a:schemeClr>
        </a:solidFill>
        <a:ln w="9525" cap="flat" cmpd="sng" algn="ctr">
          <a:solidFill>
            <a:schemeClr val="accent2">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baseline="0" dirty="0"/>
            <a:t>Required to create and delete a column master key</a:t>
          </a:r>
          <a:endParaRPr lang="en-US" sz="1900" kern="1200" dirty="0"/>
        </a:p>
      </dsp:txBody>
      <dsp:txXfrm rot="-5400000">
        <a:off x="3916506" y="163718"/>
        <a:ext cx="6917374" cy="837421"/>
      </dsp:txXfrm>
    </dsp:sp>
    <dsp:sp modelId="{9FE36F5D-7248-4DA4-9FFD-76DB9C742BE5}">
      <dsp:nvSpPr>
        <dsp:cNvPr id="0" name=""/>
        <dsp:cNvSpPr/>
      </dsp:nvSpPr>
      <dsp:spPr>
        <a:xfrm>
          <a:off x="0" y="2411"/>
          <a:ext cx="3916505" cy="1160034"/>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TER ANY COLUMN MASTER KEY</a:t>
          </a:r>
          <a:endParaRPr lang="en-US" sz="2400" kern="1200" dirty="0"/>
        </a:p>
      </dsp:txBody>
      <dsp:txXfrm>
        <a:off x="56628" y="59039"/>
        <a:ext cx="3803249" cy="1046778"/>
      </dsp:txXfrm>
    </dsp:sp>
    <dsp:sp modelId="{FC6462EE-C45D-4824-B63D-EA04FC820552}">
      <dsp:nvSpPr>
        <dsp:cNvPr id="0" name=""/>
        <dsp:cNvSpPr/>
      </dsp:nvSpPr>
      <dsp:spPr>
        <a:xfrm rot="5400000">
          <a:off x="6933830" y="-1680873"/>
          <a:ext cx="928027" cy="6962677"/>
        </a:xfrm>
        <a:prstGeom prst="round2SameRect">
          <a:avLst/>
        </a:prstGeom>
        <a:solidFill>
          <a:schemeClr val="accent2">
            <a:tint val="40000"/>
            <a:alpha val="90000"/>
            <a:hueOff val="-1162839"/>
            <a:satOff val="3109"/>
            <a:lumOff val="385"/>
            <a:alphaOff val="0"/>
          </a:schemeClr>
        </a:solidFill>
        <a:ln w="9525" cap="flat" cmpd="sng" algn="ctr">
          <a:solidFill>
            <a:schemeClr val="accent2">
              <a:tint val="40000"/>
              <a:alpha val="90000"/>
              <a:hueOff val="-1162839"/>
              <a:satOff val="3109"/>
              <a:lumOff val="385"/>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baseline="0" dirty="0"/>
            <a:t>Required to create and delete a column encryption key</a:t>
          </a:r>
          <a:endParaRPr lang="en-US" sz="1900" kern="1200" dirty="0"/>
        </a:p>
      </dsp:txBody>
      <dsp:txXfrm rot="-5400000">
        <a:off x="3916506" y="1381754"/>
        <a:ext cx="6917374" cy="837421"/>
      </dsp:txXfrm>
    </dsp:sp>
    <dsp:sp modelId="{B7EBF281-5392-4475-844D-71D64DC3D19F}">
      <dsp:nvSpPr>
        <dsp:cNvPr id="0" name=""/>
        <dsp:cNvSpPr/>
      </dsp:nvSpPr>
      <dsp:spPr>
        <a:xfrm>
          <a:off x="0" y="1220448"/>
          <a:ext cx="3916505" cy="1160034"/>
        </a:xfrm>
        <a:prstGeom prst="roundRect">
          <a:avLst/>
        </a:prstGeom>
        <a:solidFill>
          <a:schemeClr val="accent2">
            <a:hueOff val="-889166"/>
            <a:satOff val="18461"/>
            <a:lumOff val="196"/>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TER ANY COLUMN ENCRYPTION KEY</a:t>
          </a:r>
          <a:endParaRPr lang="en-US" sz="2400" kern="1200" dirty="0"/>
        </a:p>
      </dsp:txBody>
      <dsp:txXfrm>
        <a:off x="56628" y="1277076"/>
        <a:ext cx="3803249" cy="1046778"/>
      </dsp:txXfrm>
    </dsp:sp>
    <dsp:sp modelId="{09D0FD38-A65F-49C4-BD83-F19917332BCD}">
      <dsp:nvSpPr>
        <dsp:cNvPr id="0" name=""/>
        <dsp:cNvSpPr/>
      </dsp:nvSpPr>
      <dsp:spPr>
        <a:xfrm rot="5400000">
          <a:off x="6933830" y="-462836"/>
          <a:ext cx="928027" cy="6962677"/>
        </a:xfrm>
        <a:prstGeom prst="round2SameRect">
          <a:avLst/>
        </a:prstGeom>
        <a:solidFill>
          <a:schemeClr val="accent2">
            <a:tint val="40000"/>
            <a:alpha val="90000"/>
            <a:hueOff val="-2325678"/>
            <a:satOff val="6218"/>
            <a:lumOff val="769"/>
            <a:alphaOff val="0"/>
          </a:schemeClr>
        </a:solidFill>
        <a:ln w="9525" cap="flat" cmpd="sng" algn="ctr">
          <a:solidFill>
            <a:schemeClr val="accent2">
              <a:tint val="40000"/>
              <a:alpha val="90000"/>
              <a:hueOff val="-2325678"/>
              <a:satOff val="6218"/>
              <a:lumOff val="769"/>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baseline="0"/>
            <a:t>Required to access and read column master key metadata objects while managing keys or querying encrypting columns</a:t>
          </a:r>
          <a:endParaRPr lang="en-US" sz="1900" kern="1200"/>
        </a:p>
      </dsp:txBody>
      <dsp:txXfrm rot="-5400000">
        <a:off x="3916506" y="2599791"/>
        <a:ext cx="6917374" cy="837421"/>
      </dsp:txXfrm>
    </dsp:sp>
    <dsp:sp modelId="{2D6EA379-A3E5-4313-89E0-DC29113E82EA}">
      <dsp:nvSpPr>
        <dsp:cNvPr id="0" name=""/>
        <dsp:cNvSpPr/>
      </dsp:nvSpPr>
      <dsp:spPr>
        <a:xfrm>
          <a:off x="0" y="2438484"/>
          <a:ext cx="3916505" cy="1160034"/>
        </a:xfrm>
        <a:prstGeom prst="roundRect">
          <a:avLst/>
        </a:prstGeom>
        <a:solidFill>
          <a:schemeClr val="accent2">
            <a:hueOff val="-1778331"/>
            <a:satOff val="36921"/>
            <a:lumOff val="392"/>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a:t>VIEW ANY COLUMN MASTER KEY DEFINITION</a:t>
          </a:r>
          <a:endParaRPr lang="en-US" sz="2400" kern="1200"/>
        </a:p>
      </dsp:txBody>
      <dsp:txXfrm>
        <a:off x="56628" y="2495112"/>
        <a:ext cx="3803249" cy="1046778"/>
      </dsp:txXfrm>
    </dsp:sp>
    <dsp:sp modelId="{0DFD7F48-434F-41F7-A8E8-F3DDEE4730E9}">
      <dsp:nvSpPr>
        <dsp:cNvPr id="0" name=""/>
        <dsp:cNvSpPr/>
      </dsp:nvSpPr>
      <dsp:spPr>
        <a:xfrm rot="5400000">
          <a:off x="6933830" y="755199"/>
          <a:ext cx="928027" cy="6962677"/>
        </a:xfrm>
        <a:prstGeom prst="round2SameRect">
          <a:avLst/>
        </a:prstGeom>
        <a:solidFill>
          <a:schemeClr val="accent2">
            <a:tint val="40000"/>
            <a:alpha val="90000"/>
            <a:hueOff val="-3488517"/>
            <a:satOff val="9327"/>
            <a:lumOff val="1154"/>
            <a:alphaOff val="0"/>
          </a:schemeClr>
        </a:solidFill>
        <a:ln w="9525" cap="flat" cmpd="sng" algn="ctr">
          <a:solidFill>
            <a:schemeClr val="accent2">
              <a:tint val="40000"/>
              <a:alpha val="90000"/>
              <a:hueOff val="-3488517"/>
              <a:satOff val="9327"/>
              <a:lumOff val="1154"/>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baseline="0"/>
            <a:t>Required to access and read column encryption key metadata objects while managing keys or querying encrypting columns </a:t>
          </a:r>
          <a:endParaRPr lang="en-US" sz="1900" kern="1200"/>
        </a:p>
      </dsp:txBody>
      <dsp:txXfrm rot="-5400000">
        <a:off x="3916506" y="3817827"/>
        <a:ext cx="6917374" cy="837421"/>
      </dsp:txXfrm>
    </dsp:sp>
    <dsp:sp modelId="{405ADB7C-6A42-4FDD-889B-5EE7722889B3}">
      <dsp:nvSpPr>
        <dsp:cNvPr id="0" name=""/>
        <dsp:cNvSpPr/>
      </dsp:nvSpPr>
      <dsp:spPr>
        <a:xfrm>
          <a:off x="0" y="3656520"/>
          <a:ext cx="3916505" cy="1160034"/>
        </a:xfrm>
        <a:prstGeom prst="roundRect">
          <a:avLst/>
        </a:prstGeom>
        <a:solidFill>
          <a:schemeClr val="accent2">
            <a:hueOff val="-2667497"/>
            <a:satOff val="55382"/>
            <a:lumOff val="588"/>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a:t>VIEW ANY COLUMN ENCRYTPION KEY DEFINITION</a:t>
          </a:r>
          <a:endParaRPr lang="en-US" sz="2400" kern="1200"/>
        </a:p>
      </dsp:txBody>
      <dsp:txXfrm>
        <a:off x="56628" y="3713148"/>
        <a:ext cx="3803249" cy="10467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7E8A98-8494-4087-9D6C-AEA7E51B2B07}">
      <dsp:nvSpPr>
        <dsp:cNvPr id="0" name=""/>
        <dsp:cNvSpPr/>
      </dsp:nvSpPr>
      <dsp:spPr>
        <a:xfrm>
          <a:off x="0" y="0"/>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55E54B9-E096-4E30-A3E1-79EFBDFB6BF4}">
      <dsp:nvSpPr>
        <dsp:cNvPr id="0" name=""/>
        <dsp:cNvSpPr/>
      </dsp:nvSpPr>
      <dsp:spPr>
        <a:xfrm>
          <a:off x="416453" y="310347"/>
          <a:ext cx="757188" cy="7571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D35EB46-69FC-44A1-94B6-1ABD20555B45}">
      <dsp:nvSpPr>
        <dsp:cNvPr id="0" name=""/>
        <dsp:cNvSpPr/>
      </dsp:nvSpPr>
      <dsp:spPr>
        <a:xfrm>
          <a:off x="1590096" y="588"/>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066800">
            <a:lnSpc>
              <a:spcPct val="100000"/>
            </a:lnSpc>
            <a:spcBef>
              <a:spcPct val="0"/>
            </a:spcBef>
            <a:spcAft>
              <a:spcPct val="35000"/>
            </a:spcAft>
            <a:buNone/>
          </a:pPr>
          <a:r>
            <a:rPr lang="en-US" sz="2400" kern="1200">
              <a:latin typeface="+mn-lt"/>
            </a:rPr>
            <a:t>Digitally signed documents containing a public/private key pair</a:t>
          </a:r>
        </a:p>
      </dsp:txBody>
      <dsp:txXfrm>
        <a:off x="1590096" y="588"/>
        <a:ext cx="9290629" cy="1376706"/>
      </dsp:txXfrm>
    </dsp:sp>
    <dsp:sp modelId="{0525C870-E2A0-42D2-B9E4-7D08BD88B75D}">
      <dsp:nvSpPr>
        <dsp:cNvPr id="0" name=""/>
        <dsp:cNvSpPr/>
      </dsp:nvSpPr>
      <dsp:spPr>
        <a:xfrm>
          <a:off x="0" y="1721471"/>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CD1236E-5BB0-41DF-B690-0A8F388C3E5C}">
      <dsp:nvSpPr>
        <dsp:cNvPr id="0" name=""/>
        <dsp:cNvSpPr/>
      </dsp:nvSpPr>
      <dsp:spPr>
        <a:xfrm>
          <a:off x="416453" y="2031230"/>
          <a:ext cx="757188" cy="7571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9FAB63B-9840-4786-839B-25F8F0D87D87}">
      <dsp:nvSpPr>
        <dsp:cNvPr id="0" name=""/>
        <dsp:cNvSpPr/>
      </dsp:nvSpPr>
      <dsp:spPr>
        <a:xfrm>
          <a:off x="1590096" y="1721471"/>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066800">
            <a:lnSpc>
              <a:spcPct val="100000"/>
            </a:lnSpc>
            <a:spcBef>
              <a:spcPct val="0"/>
            </a:spcBef>
            <a:spcAft>
              <a:spcPct val="35000"/>
            </a:spcAft>
            <a:buNone/>
          </a:pPr>
          <a:r>
            <a:rPr lang="en-US" sz="2400" kern="1200">
              <a:latin typeface="+mn-lt"/>
            </a:rPr>
            <a:t>Certificates can be used to authenticate and/or encrypt messages between two parties.</a:t>
          </a:r>
        </a:p>
      </dsp:txBody>
      <dsp:txXfrm>
        <a:off x="1590096" y="1721471"/>
        <a:ext cx="9290629" cy="1376706"/>
      </dsp:txXfrm>
    </dsp:sp>
    <dsp:sp modelId="{62B47832-C10A-4A41-A4D2-D3C5AFEB2A3B}">
      <dsp:nvSpPr>
        <dsp:cNvPr id="0" name=""/>
        <dsp:cNvSpPr/>
      </dsp:nvSpPr>
      <dsp:spPr>
        <a:xfrm>
          <a:off x="0" y="3442354"/>
          <a:ext cx="10880726" cy="13767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83A1F5-0C52-40E3-9F3D-C2E790C50A0D}">
      <dsp:nvSpPr>
        <dsp:cNvPr id="0" name=""/>
        <dsp:cNvSpPr/>
      </dsp:nvSpPr>
      <dsp:spPr>
        <a:xfrm>
          <a:off x="416453" y="3752113"/>
          <a:ext cx="757188" cy="757188"/>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1C416EE-FA42-4CBF-8D7F-4467623368A1}">
      <dsp:nvSpPr>
        <dsp:cNvPr id="0" name=""/>
        <dsp:cNvSpPr/>
      </dsp:nvSpPr>
      <dsp:spPr>
        <a:xfrm>
          <a:off x="1590096" y="3442354"/>
          <a:ext cx="9290629" cy="1376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01" tIns="145701" rIns="145701" bIns="145701" numCol="1" spcCol="1270" anchor="ctr" anchorCtr="0">
          <a:noAutofit/>
        </a:bodyPr>
        <a:lstStyle/>
        <a:p>
          <a:pPr marL="0" lvl="0" indent="0" algn="l" defTabSz="1066800" rtl="0">
            <a:lnSpc>
              <a:spcPct val="100000"/>
            </a:lnSpc>
            <a:spcBef>
              <a:spcPct val="0"/>
            </a:spcBef>
            <a:spcAft>
              <a:spcPct val="35000"/>
            </a:spcAft>
            <a:buNone/>
          </a:pPr>
          <a:r>
            <a:rPr lang="en-US" sz="2400" kern="1200">
              <a:latin typeface="+mn-lt"/>
            </a:rPr>
            <a:t>Contain information that can either verify the sender of a message or encryption and decryption algorithm </a:t>
          </a:r>
        </a:p>
      </dsp:txBody>
      <dsp:txXfrm>
        <a:off x="1590096" y="3442354"/>
        <a:ext cx="9290629" cy="13767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2497A0-1BCD-4E97-8A73-BBD74F490836}">
      <dsp:nvSpPr>
        <dsp:cNvPr id="0" name=""/>
        <dsp:cNvSpPr/>
      </dsp:nvSpPr>
      <dsp:spPr>
        <a:xfrm>
          <a:off x="0" y="2000"/>
          <a:ext cx="10880726"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2CC3F1-76F5-4FFC-BA41-C6EAEB74E28B}">
      <dsp:nvSpPr>
        <dsp:cNvPr id="0" name=""/>
        <dsp:cNvSpPr/>
      </dsp:nvSpPr>
      <dsp:spPr>
        <a:xfrm>
          <a:off x="306680" y="230110"/>
          <a:ext cx="557601" cy="5576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8EAE26F-123C-4B06-8961-727F0F20ACA8}">
      <dsp:nvSpPr>
        <dsp:cNvPr id="0" name=""/>
        <dsp:cNvSpPr/>
      </dsp:nvSpPr>
      <dsp:spPr>
        <a:xfrm>
          <a:off x="1170963" y="2000"/>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100000"/>
            </a:lnSpc>
            <a:spcBef>
              <a:spcPct val="0"/>
            </a:spcBef>
            <a:spcAft>
              <a:spcPct val="35000"/>
            </a:spcAft>
            <a:buNone/>
          </a:pPr>
          <a:r>
            <a:rPr lang="en-US" sz="2200" kern="1200"/>
            <a:t>Introduced in SQL Server 2016</a:t>
          </a:r>
        </a:p>
      </dsp:txBody>
      <dsp:txXfrm>
        <a:off x="1170963" y="2000"/>
        <a:ext cx="9709762" cy="1013820"/>
      </dsp:txXfrm>
    </dsp:sp>
    <dsp:sp modelId="{42736B99-B78C-413D-9028-049B6B588770}">
      <dsp:nvSpPr>
        <dsp:cNvPr id="0" name=""/>
        <dsp:cNvSpPr/>
      </dsp:nvSpPr>
      <dsp:spPr>
        <a:xfrm>
          <a:off x="0" y="1269276"/>
          <a:ext cx="10880726"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A97EAA4-9E3B-4DB3-882F-005FCC6FEEBF}">
      <dsp:nvSpPr>
        <dsp:cNvPr id="0" name=""/>
        <dsp:cNvSpPr/>
      </dsp:nvSpPr>
      <dsp:spPr>
        <a:xfrm>
          <a:off x="306680" y="1497386"/>
          <a:ext cx="557601" cy="5576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2DEF695-3BEC-4FCC-89F6-FC2B7E9E1DCE}">
      <dsp:nvSpPr>
        <dsp:cNvPr id="0" name=""/>
        <dsp:cNvSpPr/>
      </dsp:nvSpPr>
      <dsp:spPr>
        <a:xfrm>
          <a:off x="1170963" y="1269276"/>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100000"/>
            </a:lnSpc>
            <a:spcBef>
              <a:spcPct val="0"/>
            </a:spcBef>
            <a:spcAft>
              <a:spcPct val="35000"/>
            </a:spcAft>
            <a:buNone/>
          </a:pPr>
          <a:r>
            <a:rPr lang="en-US" sz="2200" kern="1200" dirty="0"/>
            <a:t>Allows encrypting specific columns</a:t>
          </a:r>
        </a:p>
      </dsp:txBody>
      <dsp:txXfrm>
        <a:off x="1170963" y="1269276"/>
        <a:ext cx="9709762" cy="1013820"/>
      </dsp:txXfrm>
    </dsp:sp>
    <dsp:sp modelId="{477CE55C-1E2F-49B3-9F69-C68F6765E249}">
      <dsp:nvSpPr>
        <dsp:cNvPr id="0" name=""/>
        <dsp:cNvSpPr/>
      </dsp:nvSpPr>
      <dsp:spPr>
        <a:xfrm>
          <a:off x="0" y="2536552"/>
          <a:ext cx="10880726"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7CE1D9-61EA-4230-80AE-0B6C94E54E46}">
      <dsp:nvSpPr>
        <dsp:cNvPr id="0" name=""/>
        <dsp:cNvSpPr/>
      </dsp:nvSpPr>
      <dsp:spPr>
        <a:xfrm>
          <a:off x="306680" y="2764662"/>
          <a:ext cx="557601" cy="5576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5657E4D-B67D-4957-865E-ECBE4EB780AF}">
      <dsp:nvSpPr>
        <dsp:cNvPr id="0" name=""/>
        <dsp:cNvSpPr/>
      </dsp:nvSpPr>
      <dsp:spPr>
        <a:xfrm>
          <a:off x="1170963" y="2536552"/>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100000"/>
            </a:lnSpc>
            <a:spcBef>
              <a:spcPct val="0"/>
            </a:spcBef>
            <a:spcAft>
              <a:spcPct val="35000"/>
            </a:spcAft>
            <a:buNone/>
          </a:pPr>
          <a:r>
            <a:rPr lang="en-US" sz="2200" kern="1200"/>
            <a:t>Client-side encryption/decryption</a:t>
          </a:r>
        </a:p>
      </dsp:txBody>
      <dsp:txXfrm>
        <a:off x="1170963" y="2536552"/>
        <a:ext cx="9709762" cy="1013820"/>
      </dsp:txXfrm>
    </dsp:sp>
    <dsp:sp modelId="{7E42E1C3-E2B3-4F34-B7F0-D79D6190642E}">
      <dsp:nvSpPr>
        <dsp:cNvPr id="0" name=""/>
        <dsp:cNvSpPr/>
      </dsp:nvSpPr>
      <dsp:spPr>
        <a:xfrm>
          <a:off x="0" y="3803828"/>
          <a:ext cx="10880726"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EA79276-BF16-4A68-B1C7-2D9F0C65BFA0}">
      <dsp:nvSpPr>
        <dsp:cNvPr id="0" name=""/>
        <dsp:cNvSpPr/>
      </dsp:nvSpPr>
      <dsp:spPr>
        <a:xfrm>
          <a:off x="306680" y="4031938"/>
          <a:ext cx="557601" cy="5576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2ACA3DA-4D80-48DA-9554-983258E0A573}">
      <dsp:nvSpPr>
        <dsp:cNvPr id="0" name=""/>
        <dsp:cNvSpPr/>
      </dsp:nvSpPr>
      <dsp:spPr>
        <a:xfrm>
          <a:off x="1170963" y="3803828"/>
          <a:ext cx="9709762"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100000"/>
            </a:lnSpc>
            <a:spcBef>
              <a:spcPct val="0"/>
            </a:spcBef>
            <a:spcAft>
              <a:spcPct val="35000"/>
            </a:spcAft>
            <a:buNone/>
          </a:pPr>
          <a:r>
            <a:rPr lang="en-US" sz="2200" kern="1200"/>
            <a:t>Based on certificate stored on client machines</a:t>
          </a:r>
        </a:p>
      </dsp:txBody>
      <dsp:txXfrm>
        <a:off x="1170963" y="3803828"/>
        <a:ext cx="9709762" cy="10138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4D75BD-9FDC-4141-B46A-97441BCDF33A}">
      <dsp:nvSpPr>
        <dsp:cNvPr id="0" name=""/>
        <dsp:cNvSpPr/>
      </dsp:nvSpPr>
      <dsp:spPr>
        <a:xfrm>
          <a:off x="3399" y="6834"/>
          <a:ext cx="3314751" cy="931947"/>
        </a:xfrm>
        <a:prstGeom prst="rect">
          <a:avLst/>
        </a:prstGeom>
        <a:solidFill>
          <a:schemeClr val="accent3">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revention of data disclosure</a:t>
          </a:r>
          <a:endParaRPr lang="en-US" sz="2400" kern="1200" dirty="0"/>
        </a:p>
      </dsp:txBody>
      <dsp:txXfrm>
        <a:off x="3399" y="6834"/>
        <a:ext cx="3314751" cy="931947"/>
      </dsp:txXfrm>
    </dsp:sp>
    <dsp:sp modelId="{5AF482D2-30D0-4D64-8CC6-F7BE63D57259}">
      <dsp:nvSpPr>
        <dsp:cNvPr id="0" name=""/>
        <dsp:cNvSpPr/>
      </dsp:nvSpPr>
      <dsp:spPr>
        <a:xfrm>
          <a:off x="3399" y="938781"/>
          <a:ext cx="3314751" cy="2462264"/>
        </a:xfrm>
        <a:prstGeom prst="rect">
          <a:avLst/>
        </a:prstGeom>
        <a:solidFill>
          <a:schemeClr val="accent3">
            <a:tint val="40000"/>
            <a:alpha val="90000"/>
            <a:hueOff val="0"/>
            <a:satOff val="0"/>
            <a:lumOff val="0"/>
            <a:alphaOff val="0"/>
          </a:schemeClr>
        </a:solidFill>
        <a:ln w="1079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a:t>Client-side encryption of sensitive data using keys that are never given to database system.</a:t>
          </a:r>
          <a:endParaRPr lang="en-US" sz="2300" kern="1200"/>
        </a:p>
      </dsp:txBody>
      <dsp:txXfrm>
        <a:off x="3399" y="938781"/>
        <a:ext cx="3314751" cy="2462264"/>
      </dsp:txXfrm>
    </dsp:sp>
    <dsp:sp modelId="{C569CFEB-6885-4864-93AB-40D0E93963A0}">
      <dsp:nvSpPr>
        <dsp:cNvPr id="0" name=""/>
        <dsp:cNvSpPr/>
      </dsp:nvSpPr>
      <dsp:spPr>
        <a:xfrm>
          <a:off x="3782215" y="6834"/>
          <a:ext cx="3314751" cy="931947"/>
        </a:xfrm>
        <a:prstGeom prst="rect">
          <a:avLst/>
        </a:prstGeom>
        <a:solidFill>
          <a:schemeClr val="accent3">
            <a:hueOff val="1008935"/>
            <a:satOff val="0"/>
            <a:lumOff val="5000"/>
            <a:alphaOff val="0"/>
          </a:schemeClr>
        </a:solidFill>
        <a:ln w="10795" cap="flat" cmpd="sng" algn="ctr">
          <a:solidFill>
            <a:schemeClr val="accent3">
              <a:hueOff val="1008935"/>
              <a:satOff val="0"/>
              <a:lumOff val="500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Queries on encrypted data</a:t>
          </a:r>
          <a:endParaRPr lang="en-US" sz="2400" kern="1200"/>
        </a:p>
      </dsp:txBody>
      <dsp:txXfrm>
        <a:off x="3782215" y="6834"/>
        <a:ext cx="3314751" cy="931947"/>
      </dsp:txXfrm>
    </dsp:sp>
    <dsp:sp modelId="{13484473-4851-48EC-8924-9E35DFFD0971}">
      <dsp:nvSpPr>
        <dsp:cNvPr id="0" name=""/>
        <dsp:cNvSpPr/>
      </dsp:nvSpPr>
      <dsp:spPr>
        <a:xfrm>
          <a:off x="3782215" y="938781"/>
          <a:ext cx="3314751" cy="2462264"/>
        </a:xfrm>
        <a:prstGeom prst="rect">
          <a:avLst/>
        </a:prstGeom>
        <a:solidFill>
          <a:schemeClr val="accent3">
            <a:tint val="40000"/>
            <a:alpha val="90000"/>
            <a:hueOff val="1681324"/>
            <a:satOff val="9829"/>
            <a:lumOff val="1281"/>
            <a:alphaOff val="0"/>
          </a:schemeClr>
        </a:solidFill>
        <a:ln w="10795" cap="flat" cmpd="sng" algn="ctr">
          <a:solidFill>
            <a:schemeClr val="accent3">
              <a:tint val="40000"/>
              <a:alpha val="90000"/>
              <a:hueOff val="1681324"/>
              <a:satOff val="9829"/>
              <a:lumOff val="128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a:t>Support for equality comparison, including join, group by, and distinct operators</a:t>
          </a:r>
          <a:endParaRPr lang="en-US" sz="2300" kern="1200"/>
        </a:p>
      </dsp:txBody>
      <dsp:txXfrm>
        <a:off x="3782215" y="938781"/>
        <a:ext cx="3314751" cy="2462264"/>
      </dsp:txXfrm>
    </dsp:sp>
    <dsp:sp modelId="{D3A10147-43BF-4A76-973D-FA579AC4A8A2}">
      <dsp:nvSpPr>
        <dsp:cNvPr id="0" name=""/>
        <dsp:cNvSpPr/>
      </dsp:nvSpPr>
      <dsp:spPr>
        <a:xfrm>
          <a:off x="7561032" y="6834"/>
          <a:ext cx="3314751" cy="931947"/>
        </a:xfrm>
        <a:prstGeom prst="rect">
          <a:avLst/>
        </a:prstGeom>
        <a:solidFill>
          <a:schemeClr val="accent3">
            <a:hueOff val="2017870"/>
            <a:satOff val="0"/>
            <a:lumOff val="10000"/>
            <a:alphaOff val="0"/>
          </a:schemeClr>
        </a:solidFill>
        <a:ln w="10795" cap="flat" cmpd="sng" algn="ctr">
          <a:solidFill>
            <a:schemeClr val="accent3">
              <a:hueOff val="2017870"/>
              <a:satOff val="0"/>
              <a:lumOff val="1000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Application transparency</a:t>
          </a:r>
          <a:endParaRPr lang="en-US" sz="2400" kern="1200"/>
        </a:p>
      </dsp:txBody>
      <dsp:txXfrm>
        <a:off x="7561032" y="6834"/>
        <a:ext cx="3314751" cy="931947"/>
      </dsp:txXfrm>
    </dsp:sp>
    <dsp:sp modelId="{8D90133C-4272-4135-9F73-1E67A4155A33}">
      <dsp:nvSpPr>
        <dsp:cNvPr id="0" name=""/>
        <dsp:cNvSpPr/>
      </dsp:nvSpPr>
      <dsp:spPr>
        <a:xfrm>
          <a:off x="7561032" y="938781"/>
          <a:ext cx="3314751" cy="2462264"/>
        </a:xfrm>
        <a:prstGeom prst="rect">
          <a:avLst/>
        </a:prstGeom>
        <a:solidFill>
          <a:schemeClr val="accent3">
            <a:tint val="40000"/>
            <a:alpha val="90000"/>
            <a:hueOff val="3362649"/>
            <a:satOff val="19657"/>
            <a:lumOff val="2562"/>
            <a:alphaOff val="0"/>
          </a:schemeClr>
        </a:solidFill>
        <a:ln w="10795" cap="flat" cmpd="sng" algn="ctr">
          <a:solidFill>
            <a:schemeClr val="accent3">
              <a:tint val="40000"/>
              <a:alpha val="90000"/>
              <a:hueOff val="3362649"/>
              <a:satOff val="19657"/>
              <a:lumOff val="256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a:t>Minimal application changes through server and client library enhancements</a:t>
          </a:r>
          <a:endParaRPr lang="en-US" sz="2300" kern="1200"/>
        </a:p>
      </dsp:txBody>
      <dsp:txXfrm>
        <a:off x="7561032" y="938781"/>
        <a:ext cx="3314751" cy="246226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CFC071-9835-4C39-9D16-0928877238E1}">
      <dsp:nvSpPr>
        <dsp:cNvPr id="0" name=""/>
        <dsp:cNvSpPr/>
      </dsp:nvSpPr>
      <dsp:spPr>
        <a:xfrm>
          <a:off x="0" y="20953"/>
          <a:ext cx="10879182" cy="12168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llows customers to securely store sensitive data outside of their trust boundary while protecting data from highly privileged users.</a:t>
          </a:r>
          <a:endParaRPr lang="en-US" sz="2400" kern="1200" dirty="0"/>
        </a:p>
      </dsp:txBody>
      <dsp:txXfrm>
        <a:off x="59399" y="80352"/>
        <a:ext cx="10760384" cy="109800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AA28EE-A740-4EBA-847A-0D85A18312D3}">
      <dsp:nvSpPr>
        <dsp:cNvPr id="0" name=""/>
        <dsp:cNvSpPr/>
      </dsp:nvSpPr>
      <dsp:spPr>
        <a:xfrm>
          <a:off x="0" y="253758"/>
          <a:ext cx="5451787" cy="60840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Capability</a:t>
          </a:r>
          <a:endParaRPr lang="en-US" sz="2400" kern="1200"/>
        </a:p>
      </dsp:txBody>
      <dsp:txXfrm>
        <a:off x="29700" y="283458"/>
        <a:ext cx="5392387" cy="549000"/>
      </dsp:txXfrm>
    </dsp:sp>
    <dsp:sp modelId="{2CE60CE3-C912-4F04-A89A-7FA5103BBEEC}">
      <dsp:nvSpPr>
        <dsp:cNvPr id="0" name=""/>
        <dsp:cNvSpPr/>
      </dsp:nvSpPr>
      <dsp:spPr>
        <a:xfrm>
          <a:off x="0" y="862158"/>
          <a:ext cx="5451787" cy="1372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309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The ADO.NET client library provides transparent client-side encryption</a:t>
          </a:r>
          <a:endParaRPr lang="en-US" sz="2000" kern="1200"/>
        </a:p>
        <a:p>
          <a:pPr marL="228600" lvl="1" indent="-228600" algn="l" defTabSz="889000">
            <a:lnSpc>
              <a:spcPct val="90000"/>
            </a:lnSpc>
            <a:spcBef>
              <a:spcPct val="0"/>
            </a:spcBef>
            <a:spcAft>
              <a:spcPct val="20000"/>
            </a:spcAft>
            <a:buChar char="•"/>
          </a:pPr>
          <a:r>
            <a:rPr lang="en-US" sz="2000" kern="1200" baseline="0"/>
            <a:t>Microsoft SQL Server executes T-SQL queries on encrypted data</a:t>
          </a:r>
          <a:endParaRPr lang="en-US" sz="2000" kern="1200"/>
        </a:p>
      </dsp:txBody>
      <dsp:txXfrm>
        <a:off x="0" y="862158"/>
        <a:ext cx="5451787" cy="1372410"/>
      </dsp:txXfrm>
    </dsp:sp>
    <dsp:sp modelId="{BF5CC69C-AB2F-4C50-8B0A-B250A6DFC5DA}">
      <dsp:nvSpPr>
        <dsp:cNvPr id="0" name=""/>
        <dsp:cNvSpPr/>
      </dsp:nvSpPr>
      <dsp:spPr>
        <a:xfrm>
          <a:off x="0" y="2234568"/>
          <a:ext cx="5451787" cy="60840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Benefits</a:t>
          </a:r>
          <a:endParaRPr lang="en-US" sz="2400" kern="1200"/>
        </a:p>
      </dsp:txBody>
      <dsp:txXfrm>
        <a:off x="29700" y="2264268"/>
        <a:ext cx="5392387" cy="549000"/>
      </dsp:txXfrm>
    </dsp:sp>
    <dsp:sp modelId="{19BF634A-98D8-4801-8C83-4EB8A444225E}">
      <dsp:nvSpPr>
        <dsp:cNvPr id="0" name=""/>
        <dsp:cNvSpPr/>
      </dsp:nvSpPr>
      <dsp:spPr>
        <a:xfrm>
          <a:off x="0" y="2842968"/>
          <a:ext cx="5451787" cy="1722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309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Sensitive data remains encrypted and can be queried on-premises and in the cloud</a:t>
          </a:r>
          <a:endParaRPr lang="en-US" sz="2000" kern="1200" dirty="0"/>
        </a:p>
        <a:p>
          <a:pPr marL="228600" lvl="1" indent="-228600" algn="l" defTabSz="889000">
            <a:lnSpc>
              <a:spcPct val="90000"/>
            </a:lnSpc>
            <a:spcBef>
              <a:spcPct val="0"/>
            </a:spcBef>
            <a:spcAft>
              <a:spcPct val="20000"/>
            </a:spcAft>
            <a:buChar char="•"/>
          </a:pPr>
          <a:r>
            <a:rPr lang="en-US" sz="2000" kern="1200" baseline="0" dirty="0"/>
            <a:t>Unauthorized users never have access to data or keys</a:t>
          </a:r>
          <a:endParaRPr lang="en-US" sz="2000" kern="1200" dirty="0"/>
        </a:p>
        <a:p>
          <a:pPr marL="228600" lvl="1" indent="-228600" algn="l" defTabSz="889000">
            <a:lnSpc>
              <a:spcPct val="90000"/>
            </a:lnSpc>
            <a:spcBef>
              <a:spcPct val="0"/>
            </a:spcBef>
            <a:spcAft>
              <a:spcPct val="20000"/>
            </a:spcAft>
            <a:buChar char="•"/>
          </a:pPr>
          <a:r>
            <a:rPr lang="en-US" sz="2000" kern="1200" baseline="0" dirty="0"/>
            <a:t>No application changes  </a:t>
          </a:r>
          <a:endParaRPr lang="en-US" sz="2000" kern="1200" dirty="0"/>
        </a:p>
      </dsp:txBody>
      <dsp:txXfrm>
        <a:off x="0" y="2842968"/>
        <a:ext cx="5451787" cy="172224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DE416B-2E15-4CC7-9AAD-33F4C7338192}">
      <dsp:nvSpPr>
        <dsp:cNvPr id="0" name=""/>
        <dsp:cNvSpPr/>
      </dsp:nvSpPr>
      <dsp:spPr>
        <a:xfrm>
          <a:off x="140504" y="25144"/>
          <a:ext cx="10677590" cy="12168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dirty="0"/>
            <a:t>Encrypted sensitive data and corresponding keys are never seen in plain text in SQL Server</a:t>
          </a:r>
          <a:endParaRPr lang="en-US" sz="2800" kern="1200" dirty="0"/>
        </a:p>
      </dsp:txBody>
      <dsp:txXfrm>
        <a:off x="199903" y="84543"/>
        <a:ext cx="10558792" cy="109800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4F064C-D75D-431F-AF5F-C212318068FC}">
      <dsp:nvSpPr>
        <dsp:cNvPr id="0" name=""/>
        <dsp:cNvSpPr/>
      </dsp:nvSpPr>
      <dsp:spPr>
        <a:xfrm>
          <a:off x="0" y="783082"/>
          <a:ext cx="10879183" cy="144569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2A99ECB-D415-48A1-A5AC-000E06F26E19}">
      <dsp:nvSpPr>
        <dsp:cNvPr id="0" name=""/>
        <dsp:cNvSpPr/>
      </dsp:nvSpPr>
      <dsp:spPr>
        <a:xfrm>
          <a:off x="437321" y="1108362"/>
          <a:ext cx="795129" cy="79512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E8C3F74-E1FE-403A-8AE0-36381D5F90A6}">
      <dsp:nvSpPr>
        <dsp:cNvPr id="0" name=""/>
        <dsp:cNvSpPr/>
      </dsp:nvSpPr>
      <dsp:spPr>
        <a:xfrm>
          <a:off x="1669772" y="783082"/>
          <a:ext cx="4895632" cy="14456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002" tIns="153002" rIns="153002" bIns="153002" numCol="1" spcCol="1270" anchor="ctr" anchorCtr="0">
          <a:noAutofit/>
        </a:bodyPr>
        <a:lstStyle/>
        <a:p>
          <a:pPr marL="0" lvl="0" indent="0" algn="l" defTabSz="977900">
            <a:lnSpc>
              <a:spcPct val="100000"/>
            </a:lnSpc>
            <a:spcBef>
              <a:spcPct val="0"/>
            </a:spcBef>
            <a:spcAft>
              <a:spcPct val="35000"/>
            </a:spcAft>
            <a:buNone/>
          </a:pPr>
          <a:r>
            <a:rPr lang="en-US" sz="2200" kern="1200" baseline="0" dirty="0"/>
            <a:t>CMK – Column Master Key is used to encrypt other keys, always in client’s control, and in an external key store</a:t>
          </a:r>
          <a:endParaRPr lang="en-US" sz="2200" kern="1200" dirty="0"/>
        </a:p>
      </dsp:txBody>
      <dsp:txXfrm>
        <a:off x="1669772" y="783082"/>
        <a:ext cx="4895632" cy="1445690"/>
      </dsp:txXfrm>
    </dsp:sp>
    <dsp:sp modelId="{B93A0E3B-9CBD-4978-9C35-A6A680EFC60F}">
      <dsp:nvSpPr>
        <dsp:cNvPr id="0" name=""/>
        <dsp:cNvSpPr/>
      </dsp:nvSpPr>
      <dsp:spPr>
        <a:xfrm>
          <a:off x="6565404" y="783082"/>
          <a:ext cx="4313778" cy="1445690"/>
        </a:xfrm>
        <a:prstGeom prst="rect">
          <a:avLst/>
        </a:prstGeom>
        <a:noFill/>
        <a:ln w="28575">
          <a:solidFill>
            <a:schemeClr val="accent3">
              <a:lumMod val="75000"/>
            </a:schemeClr>
          </a:solidFill>
        </a:ln>
        <a:effectLst/>
      </dsp:spPr>
      <dsp:style>
        <a:lnRef idx="0">
          <a:scrgbClr r="0" g="0" b="0"/>
        </a:lnRef>
        <a:fillRef idx="0">
          <a:scrgbClr r="0" g="0" b="0"/>
        </a:fillRef>
        <a:effectRef idx="0">
          <a:scrgbClr r="0" g="0" b="0"/>
        </a:effectRef>
        <a:fontRef idx="minor"/>
      </dsp:style>
      <dsp:txBody>
        <a:bodyPr spcFirstLastPara="0" vert="horz" wrap="square" lIns="153002" tIns="153002" rIns="153002" bIns="153002" numCol="1" spcCol="1270" anchor="ctr" anchorCtr="0">
          <a:noAutofit/>
        </a:bodyPr>
        <a:lstStyle/>
        <a:p>
          <a:pPr marL="0" lvl="0" indent="0" algn="l" defTabSz="755650">
            <a:lnSpc>
              <a:spcPct val="100000"/>
            </a:lnSpc>
            <a:spcBef>
              <a:spcPct val="0"/>
            </a:spcBef>
            <a:spcAft>
              <a:spcPct val="35000"/>
            </a:spcAft>
            <a:buNone/>
          </a:pPr>
          <a:r>
            <a:rPr lang="en-US" sz="1700" kern="1200" baseline="0" dirty="0"/>
            <a:t>Azure Key Vault</a:t>
          </a:r>
        </a:p>
        <a:p>
          <a:pPr marL="0" lvl="0" indent="0" algn="l" defTabSz="755650">
            <a:lnSpc>
              <a:spcPct val="100000"/>
            </a:lnSpc>
            <a:spcBef>
              <a:spcPct val="0"/>
            </a:spcBef>
            <a:spcAft>
              <a:spcPct val="35000"/>
            </a:spcAft>
            <a:buNone/>
          </a:pPr>
          <a:r>
            <a:rPr lang="en-US" sz="1700" kern="1200" baseline="0" dirty="0"/>
            <a:t>Windows Certificate Store</a:t>
          </a:r>
          <a:endParaRPr lang="en-US" sz="1700" kern="1200" dirty="0"/>
        </a:p>
        <a:p>
          <a:pPr marL="0" lvl="0" indent="0" algn="l" defTabSz="755650">
            <a:lnSpc>
              <a:spcPct val="100000"/>
            </a:lnSpc>
            <a:spcBef>
              <a:spcPct val="0"/>
            </a:spcBef>
            <a:spcAft>
              <a:spcPct val="35000"/>
            </a:spcAft>
            <a:buNone/>
          </a:pPr>
          <a:r>
            <a:rPr lang="en-US" sz="1700" kern="1200" baseline="0" dirty="0"/>
            <a:t>Hardware Security Sections </a:t>
          </a:r>
          <a:endParaRPr lang="en-US" sz="1700" kern="1200" dirty="0"/>
        </a:p>
      </dsp:txBody>
      <dsp:txXfrm>
        <a:off x="6565404" y="783082"/>
        <a:ext cx="4313778" cy="1445690"/>
      </dsp:txXfrm>
    </dsp:sp>
    <dsp:sp modelId="{D7A8E28B-4B10-441F-94DC-EEEC3E8A1220}">
      <dsp:nvSpPr>
        <dsp:cNvPr id="0" name=""/>
        <dsp:cNvSpPr/>
      </dsp:nvSpPr>
      <dsp:spPr>
        <a:xfrm>
          <a:off x="0" y="2590194"/>
          <a:ext cx="10879183" cy="144569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48817B1-3F17-4E3A-8FC9-C119429CBD41}">
      <dsp:nvSpPr>
        <dsp:cNvPr id="0" name=""/>
        <dsp:cNvSpPr/>
      </dsp:nvSpPr>
      <dsp:spPr>
        <a:xfrm>
          <a:off x="437321" y="2915475"/>
          <a:ext cx="795129" cy="795129"/>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B31B38B-81EA-425B-9E82-CBAEBC7DD2A0}">
      <dsp:nvSpPr>
        <dsp:cNvPr id="0" name=""/>
        <dsp:cNvSpPr/>
      </dsp:nvSpPr>
      <dsp:spPr>
        <a:xfrm>
          <a:off x="1669772" y="2590194"/>
          <a:ext cx="9209410" cy="14456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002" tIns="153002" rIns="153002" bIns="153002" numCol="1" spcCol="1270" anchor="ctr" anchorCtr="0">
          <a:noAutofit/>
        </a:bodyPr>
        <a:lstStyle/>
        <a:p>
          <a:pPr marL="0" lvl="0" indent="0" algn="l" defTabSz="977900">
            <a:lnSpc>
              <a:spcPct val="100000"/>
            </a:lnSpc>
            <a:spcBef>
              <a:spcPct val="0"/>
            </a:spcBef>
            <a:spcAft>
              <a:spcPct val="35000"/>
            </a:spcAft>
            <a:buNone/>
          </a:pPr>
          <a:r>
            <a:rPr lang="en-US" sz="2200" kern="1200" baseline="0"/>
            <a:t>CEK – Column Encryption Key is a content encryption key</a:t>
          </a:r>
          <a:endParaRPr lang="en-US" sz="2200" kern="1200"/>
        </a:p>
      </dsp:txBody>
      <dsp:txXfrm>
        <a:off x="1669772" y="2590194"/>
        <a:ext cx="9209410" cy="144569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F4F28F-5A40-4446-B73F-24FA8C091425}">
      <dsp:nvSpPr>
        <dsp:cNvPr id="0" name=""/>
        <dsp:cNvSpPr/>
      </dsp:nvSpPr>
      <dsp:spPr>
        <a:xfrm>
          <a:off x="1061" y="1759498"/>
          <a:ext cx="2285265" cy="882112"/>
        </a:xfrm>
        <a:prstGeom prst="chevron">
          <a:avLst>
            <a:gd name="adj" fmla="val 4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7ED223-C7C6-40C2-8A61-02C658CF3A2F}">
      <dsp:nvSpPr>
        <dsp:cNvPr id="0" name=""/>
        <dsp:cNvSpPr/>
      </dsp:nvSpPr>
      <dsp:spPr>
        <a:xfrm>
          <a:off x="483708" y="1782698"/>
          <a:ext cx="2183295" cy="1276769"/>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Generate CEKs and master key</a:t>
          </a:r>
          <a:endParaRPr lang="en-US" sz="2400" kern="1200" dirty="0"/>
        </a:p>
      </dsp:txBody>
      <dsp:txXfrm>
        <a:off x="521103" y="1820093"/>
        <a:ext cx="2108505" cy="1201979"/>
      </dsp:txXfrm>
    </dsp:sp>
    <dsp:sp modelId="{5342529E-9947-4A14-8F56-492B85601A2B}">
      <dsp:nvSpPr>
        <dsp:cNvPr id="0" name=""/>
        <dsp:cNvSpPr/>
      </dsp:nvSpPr>
      <dsp:spPr>
        <a:xfrm>
          <a:off x="2738101" y="1759498"/>
          <a:ext cx="2285265" cy="882112"/>
        </a:xfrm>
        <a:prstGeom prst="chevron">
          <a:avLst>
            <a:gd name="adj" fmla="val 40000"/>
          </a:avLst>
        </a:prstGeom>
        <a:solidFill>
          <a:schemeClr val="accent2">
            <a:hueOff val="-889166"/>
            <a:satOff val="18461"/>
            <a:lumOff val="19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67DA84-B66B-491D-A739-E7FDB8FE7E68}">
      <dsp:nvSpPr>
        <dsp:cNvPr id="0" name=""/>
        <dsp:cNvSpPr/>
      </dsp:nvSpPr>
      <dsp:spPr>
        <a:xfrm>
          <a:off x="3220747" y="1782698"/>
          <a:ext cx="2183295" cy="1276769"/>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889166"/>
              <a:satOff val="18461"/>
              <a:lumOff val="19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a:t>Encrypt CEK</a:t>
          </a:r>
          <a:endParaRPr lang="en-US" sz="2400" kern="1200"/>
        </a:p>
      </dsp:txBody>
      <dsp:txXfrm>
        <a:off x="3258142" y="1820093"/>
        <a:ext cx="2108505" cy="1201979"/>
      </dsp:txXfrm>
    </dsp:sp>
    <dsp:sp modelId="{7F6E88C1-BE67-45F6-900E-E4740C34D4F6}">
      <dsp:nvSpPr>
        <dsp:cNvPr id="0" name=""/>
        <dsp:cNvSpPr/>
      </dsp:nvSpPr>
      <dsp:spPr>
        <a:xfrm>
          <a:off x="5475140" y="1759498"/>
          <a:ext cx="2285265" cy="882112"/>
        </a:xfrm>
        <a:prstGeom prst="chevron">
          <a:avLst>
            <a:gd name="adj" fmla="val 40000"/>
          </a:avLst>
        </a:prstGeom>
        <a:solidFill>
          <a:schemeClr val="accent2">
            <a:hueOff val="-1778331"/>
            <a:satOff val="36921"/>
            <a:lumOff val="39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99870CB-525E-4B98-B3BF-BFFC0EBA3FD8}">
      <dsp:nvSpPr>
        <dsp:cNvPr id="0" name=""/>
        <dsp:cNvSpPr/>
      </dsp:nvSpPr>
      <dsp:spPr>
        <a:xfrm>
          <a:off x="5957786" y="1782698"/>
          <a:ext cx="2183295" cy="1276769"/>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1778331"/>
              <a:satOff val="36921"/>
              <a:lumOff val="3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a:t>Store master key securely</a:t>
          </a:r>
          <a:endParaRPr lang="en-US" sz="2400" kern="1200"/>
        </a:p>
      </dsp:txBody>
      <dsp:txXfrm>
        <a:off x="5995181" y="1820093"/>
        <a:ext cx="2108505" cy="1201979"/>
      </dsp:txXfrm>
    </dsp:sp>
    <dsp:sp modelId="{4D485240-D5B2-44FE-BA3F-37ACB8DECDD1}">
      <dsp:nvSpPr>
        <dsp:cNvPr id="0" name=""/>
        <dsp:cNvSpPr/>
      </dsp:nvSpPr>
      <dsp:spPr>
        <a:xfrm>
          <a:off x="8212179" y="1759498"/>
          <a:ext cx="2285265" cy="882112"/>
        </a:xfrm>
        <a:prstGeom prst="chevron">
          <a:avLst>
            <a:gd name="adj" fmla="val 40000"/>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47C43F3-21FD-4F8F-964A-6B8096F5114A}">
      <dsp:nvSpPr>
        <dsp:cNvPr id="0" name=""/>
        <dsp:cNvSpPr/>
      </dsp:nvSpPr>
      <dsp:spPr>
        <a:xfrm>
          <a:off x="8694825" y="1782698"/>
          <a:ext cx="2183295" cy="1276769"/>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a:t>Upload encrypted CEK to DB</a:t>
          </a:r>
          <a:endParaRPr lang="en-US" sz="2400" kern="1200"/>
        </a:p>
      </dsp:txBody>
      <dsp:txXfrm>
        <a:off x="8732220" y="1820093"/>
        <a:ext cx="2108505" cy="1201979"/>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3/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selecting--deterministic-or-randomized-encryption"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selecting--deterministic-or-randomized-encryption"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cryptography?view=sql-server-ver15"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csrc.nist.gov/publications/nistpubs/800-38a/sp800-38a.pdf" TargetMode="External"/><Relationship Id="rId4" Type="http://schemas.openxmlformats.org/officeDocument/2006/relationships/hyperlink" Target="https://tools.ietf.org/html/draft-mcgrew-aead-aes-cbc-hmac-sha2-05"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enclaves?view=sql-server-ver15"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microsoft.com/security/blog/2018/06/05/virtualization-based-security-vbs-memory-enclaves-data-protection-through-isolation/"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sql/relational-databases/system-catalog-views/sys-column-master-keys-transact-sql?view=sql-server-ver15"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docs.microsoft.com/en-us/sql/relational-databases/system-catalog-views/sys-column-encryption-key-values-transact-sql?view=sql-server-ver15" TargetMode="External"/><Relationship Id="rId4" Type="http://schemas.openxmlformats.org/officeDocument/2006/relationships/hyperlink" Target="https://docs.microsoft.com/en-us/sql/relational-databases/system-catalog-views/sys-column-encryption-keys-transact-sql?view=sql-server-ver15"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sql/relational-databases/system-catalog-views/sys-column-master-keys-transact-sql?view=sql-server-ver15"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docs.microsoft.com/en-us/sql/relational-databases/system-catalog-views/sys-column-encryption-key-values-transact-sql?view=sql-server-ver15" TargetMode="External"/><Relationship Id="rId4" Type="http://schemas.openxmlformats.org/officeDocument/2006/relationships/hyperlink" Target="https://docs.microsoft.com/en-us/sql/relational-databases/system-catalog-views/sys-column-encryption-keys-transact-sql?view=sql-server-ver15"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query-columns-ssms?view=sql-server-ver15"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develop-using-always-encrypted-with-net-framework-data-provider?view=sql-server-ver15"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database-permission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relational-databases/security/sql-server-certificates-and-asymmetric-keys?view=sql-server-ver15"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view=sql-server-ver15"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overview-of-key-management-for-always-encrypted?view=sql-server-ver1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overview-of-key-management-for-always-encrypted?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E97690-D681-4B47-8FD4-7300C9E579A2}" type="slidenum">
              <a:rPr lang="en-US" smtClean="0"/>
              <a:t>1</a:t>
            </a:fld>
            <a:endParaRPr lang="en-US"/>
          </a:p>
        </p:txBody>
      </p:sp>
    </p:spTree>
    <p:extLst>
      <p:ext uri="{BB962C8B-B14F-4D97-AF65-F5344CB8AC3E}">
        <p14:creationId xmlns:p14="http://schemas.microsoft.com/office/powerpoint/2010/main" val="2197008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gives you an overview of the types of encryption for Always Encrypted and the difference between </a:t>
            </a:r>
            <a:r>
              <a:rPr lang="en-US" b="1" dirty="0"/>
              <a:t>randomized </a:t>
            </a:r>
            <a:r>
              <a:rPr lang="en-US" dirty="0"/>
              <a:t>and</a:t>
            </a:r>
            <a:r>
              <a:rPr lang="en-US" b="1" dirty="0"/>
              <a:t> d</a:t>
            </a:r>
            <a:r>
              <a:rPr lang="en-US" sz="900" b="1" kern="1200" dirty="0">
                <a:solidFill>
                  <a:schemeClr val="tx1"/>
                </a:solidFill>
                <a:effectLst/>
                <a:latin typeface="Segoe UI Light" pitchFamily="34" charset="0"/>
                <a:ea typeface="+mn-ea"/>
                <a:cs typeface="+mn-cs"/>
              </a:rPr>
              <a:t>eterministic encryption</a:t>
            </a:r>
            <a:r>
              <a:rPr lang="en-US" sz="900" b="0" kern="1200" dirty="0">
                <a:solidFill>
                  <a:schemeClr val="tx1"/>
                </a:solidFill>
                <a:effectLst/>
                <a:latin typeface="Segoe UI Light" pitchFamily="34" charset="0"/>
                <a:ea typeface="+mn-ea"/>
                <a:cs typeface="+mn-cs"/>
              </a:rPr>
              <a:t>.</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Always Encrypted supports two types of encryption: randomized encryption and deterministic encryption.</a:t>
            </a:r>
            <a:endParaRPr lang="en-US" sz="900" b="1" kern="1200" dirty="0">
              <a:solidFill>
                <a:schemeClr val="tx1"/>
              </a:solidFill>
              <a:effectLst/>
              <a:latin typeface="Segoe UI Light" pitchFamily="34" charset="0"/>
              <a:ea typeface="+mn-ea"/>
              <a:cs typeface="+mn-cs"/>
            </a:endParaRPr>
          </a:p>
          <a:p>
            <a:pPr lvl="0"/>
            <a:r>
              <a:rPr lang="en-US" sz="900" b="1" kern="1200" dirty="0">
                <a:solidFill>
                  <a:schemeClr val="tx1"/>
                </a:solidFill>
                <a:effectLst/>
                <a:latin typeface="Segoe UI Light" pitchFamily="34" charset="0"/>
                <a:ea typeface="+mn-ea"/>
                <a:cs typeface="+mn-cs"/>
              </a:rPr>
              <a:t>Randomized encryption </a:t>
            </a:r>
            <a:r>
              <a:rPr lang="en-US" sz="900" kern="1200" dirty="0">
                <a:solidFill>
                  <a:schemeClr val="tx1"/>
                </a:solidFill>
                <a:effectLst/>
                <a:latin typeface="Segoe UI Light" pitchFamily="34" charset="0"/>
                <a:ea typeface="+mn-ea"/>
                <a:cs typeface="+mn-cs"/>
              </a:rPr>
              <a:t>uses a method that encrypts data in a less predictable manner. Randomized encryption is more secure, but prevents equality searches, grouping, indexing, and joining on encrypted columns.</a:t>
            </a:r>
          </a:p>
          <a:p>
            <a:pPr lvl="0"/>
            <a:endParaRPr lang="en-US" sz="900" b="1" kern="1200" dirty="0">
              <a:solidFill>
                <a:schemeClr val="tx1"/>
              </a:solidFill>
              <a:effectLst/>
              <a:latin typeface="Segoe UI Light" pitchFamily="34" charset="0"/>
              <a:ea typeface="+mn-ea"/>
              <a:cs typeface="+mn-cs"/>
            </a:endParaRPr>
          </a:p>
          <a:p>
            <a:pPr lvl="0"/>
            <a:r>
              <a:rPr lang="en-US" sz="900" b="1" kern="1200" dirty="0">
                <a:solidFill>
                  <a:schemeClr val="tx1"/>
                </a:solidFill>
                <a:effectLst/>
                <a:latin typeface="Segoe UI Light" pitchFamily="34" charset="0"/>
                <a:ea typeface="+mn-ea"/>
                <a:cs typeface="+mn-cs"/>
              </a:rPr>
              <a:t>Deterministic encryption</a:t>
            </a:r>
            <a:r>
              <a:rPr lang="en-US" sz="900" kern="1200" dirty="0">
                <a:solidFill>
                  <a:schemeClr val="tx1"/>
                </a:solidFill>
                <a:effectLst/>
                <a:latin typeface="Segoe UI Light" pitchFamily="34" charset="0"/>
                <a:ea typeface="+mn-ea"/>
                <a:cs typeface="+mn-cs"/>
              </a:rPr>
              <a:t> uses a method that always generates the same encrypted value for any given plain text value. Using deterministic encryption allows grouping, filtering by equality, and joining tables based on encrypted values, but can also allow unauthorized users to guess information about encrypted values by examining patterns in the encrypted column. This weakness is increased when there is a small set of possible encrypted values, such as true/false, or north/south/east/west region. Deterministic encryption must use a column collation with a binary2 sort order for character columns.</a:t>
            </a:r>
          </a:p>
          <a:p>
            <a:r>
              <a:rPr lang="en-US" sz="900" kern="1200" dirty="0">
                <a:solidFill>
                  <a:schemeClr val="tx1"/>
                </a:solidFill>
                <a:effectLst/>
                <a:latin typeface="Segoe UI Light" pitchFamily="34" charset="0"/>
                <a:ea typeface="+mn-ea"/>
                <a:cs typeface="+mn-cs"/>
              </a:rPr>
              <a:t>Use deterministic encryption for columns that will be used as search or grouping parameters, for example, a government ID number. Use randomized encryption for data such as confidential investigation comments—which are not grouped with other records or used to join </a:t>
            </a:r>
            <a:r>
              <a:rPr lang="en-US" dirty="0"/>
              <a:t>tables—from </a:t>
            </a:r>
            <a:r>
              <a:rPr lang="en-US" sz="900" kern="1200" dirty="0">
                <a:solidFill>
                  <a:schemeClr val="tx1"/>
                </a:solidFill>
                <a:effectLst/>
                <a:latin typeface="Segoe UI Light" pitchFamily="34" charset="0"/>
                <a:ea typeface="+mn-ea"/>
                <a:cs typeface="+mn-cs"/>
              </a:rPr>
              <a:t>the row that contains the encrypted column of interest.</a:t>
            </a:r>
          </a:p>
          <a:p>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00" kern="1200" dirty="0">
                <a:solidFill>
                  <a:schemeClr val="tx1"/>
                </a:solidFill>
                <a:effectLst/>
                <a:latin typeface="Segoe UI Light" pitchFamily="34" charset="0"/>
                <a:ea typeface="+mn-ea"/>
                <a:cs typeface="+mn-cs"/>
              </a:rPr>
              <a:t> </a:t>
            </a:r>
            <a:r>
              <a:rPr lang="en-US" sz="700" b="1" i="0" dirty="0">
                <a:solidFill>
                  <a:srgbClr val="E3E3E3"/>
                </a:solidFill>
                <a:effectLst/>
                <a:latin typeface="Segoe UI" panose="020B0502040204020203" pitchFamily="34" charset="0"/>
              </a:rPr>
              <a:t>Selecting Deterministic or Randomized Encryption: </a:t>
            </a:r>
            <a:r>
              <a:rPr lang="en-US" sz="800" dirty="0">
                <a:hlinkClick r:id="rId3"/>
              </a:rPr>
              <a:t>https://docs.microsoft.com/en-us/sql/relational-databases/security/encryption/always-encrypted-database-engine?view=sql-server-ver15#selecting--deterministic-or-randomized-encryption</a:t>
            </a:r>
            <a:endParaRPr lang="en-US" sz="700" kern="1200" dirty="0">
              <a:solidFill>
                <a:schemeClr val="tx1"/>
              </a:solidFill>
              <a:effectLst/>
              <a:latin typeface="Segoe UI Light" pitchFamily="34" charset="0"/>
              <a:ea typeface="+mn-ea"/>
              <a:cs typeface="+mn-cs"/>
            </a:endParaRPr>
          </a:p>
          <a:p>
            <a:r>
              <a:rPr lang="en-US" sz="700" kern="1200" dirty="0">
                <a:solidFill>
                  <a:schemeClr val="tx1"/>
                </a:solidFill>
                <a:effectLst/>
                <a:latin typeface="Segoe UI Light" pitchFamily="34" charset="0"/>
                <a:ea typeface="+mn-ea"/>
                <a:cs typeface="+mn-cs"/>
              </a:rPr>
              <a:t> </a:t>
            </a:r>
          </a:p>
          <a:p>
            <a:endParaRPr lang="en-US" dirty="0"/>
          </a:p>
        </p:txBody>
      </p:sp>
    </p:spTree>
    <p:extLst>
      <p:ext uri="{BB962C8B-B14F-4D97-AF65-F5344CB8AC3E}">
        <p14:creationId xmlns:p14="http://schemas.microsoft.com/office/powerpoint/2010/main" val="39978935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gives you an overview of the types of encryption for Always Encrypted and the difference between </a:t>
            </a:r>
            <a:r>
              <a:rPr lang="en-US" b="1" dirty="0"/>
              <a:t>randomized </a:t>
            </a:r>
            <a:r>
              <a:rPr lang="en-US" dirty="0"/>
              <a:t>and</a:t>
            </a:r>
            <a:r>
              <a:rPr lang="en-US" b="1" dirty="0"/>
              <a:t> d</a:t>
            </a:r>
            <a:r>
              <a:rPr lang="en-US" sz="900" b="1" kern="1200" dirty="0">
                <a:solidFill>
                  <a:schemeClr val="tx1"/>
                </a:solidFill>
                <a:effectLst/>
                <a:latin typeface="Segoe UI Light" pitchFamily="34" charset="0"/>
                <a:ea typeface="+mn-ea"/>
                <a:cs typeface="+mn-cs"/>
              </a:rPr>
              <a:t>eterministic encryption</a:t>
            </a:r>
            <a:r>
              <a:rPr lang="en-US" sz="900" b="0" kern="1200" dirty="0">
                <a:solidFill>
                  <a:schemeClr val="tx1"/>
                </a:solidFill>
                <a:effectLst/>
                <a:latin typeface="Segoe UI Light" pitchFamily="34" charset="0"/>
                <a:ea typeface="+mn-ea"/>
                <a:cs typeface="+mn-cs"/>
              </a:rPr>
              <a:t>.</a:t>
            </a:r>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Always Encrypted supports two types of encryption: randomized encryption and deterministic encryption.</a:t>
            </a:r>
            <a:endParaRPr lang="en-US" sz="900" b="1" kern="1200" dirty="0">
              <a:solidFill>
                <a:schemeClr val="tx1"/>
              </a:solidFill>
              <a:effectLst/>
              <a:latin typeface="Segoe UI Light" pitchFamily="34" charset="0"/>
              <a:ea typeface="+mn-ea"/>
              <a:cs typeface="+mn-cs"/>
            </a:endParaRPr>
          </a:p>
          <a:p>
            <a:pPr lvl="0"/>
            <a:r>
              <a:rPr lang="en-US" sz="900" b="1" kern="1200" dirty="0">
                <a:solidFill>
                  <a:schemeClr val="tx1"/>
                </a:solidFill>
                <a:effectLst/>
                <a:latin typeface="Segoe UI Light" pitchFamily="34" charset="0"/>
                <a:ea typeface="+mn-ea"/>
                <a:cs typeface="+mn-cs"/>
              </a:rPr>
              <a:t>Randomized encryption </a:t>
            </a:r>
            <a:r>
              <a:rPr lang="en-US" sz="900" kern="1200" dirty="0">
                <a:solidFill>
                  <a:schemeClr val="tx1"/>
                </a:solidFill>
                <a:effectLst/>
                <a:latin typeface="Segoe UI Light" pitchFamily="34" charset="0"/>
                <a:ea typeface="+mn-ea"/>
                <a:cs typeface="+mn-cs"/>
              </a:rPr>
              <a:t>uses a method that encrypts data in a less predictable manner. Randomized encryption is more secure, but prevents equality searches, grouping, indexing, and joining on encrypted columns.</a:t>
            </a:r>
          </a:p>
          <a:p>
            <a:pPr lvl="0"/>
            <a:endParaRPr lang="en-US" sz="900" b="1" kern="1200" dirty="0">
              <a:solidFill>
                <a:schemeClr val="tx1"/>
              </a:solidFill>
              <a:effectLst/>
              <a:latin typeface="Segoe UI Light" pitchFamily="34" charset="0"/>
              <a:ea typeface="+mn-ea"/>
              <a:cs typeface="+mn-cs"/>
            </a:endParaRPr>
          </a:p>
          <a:p>
            <a:pPr lvl="0"/>
            <a:r>
              <a:rPr lang="en-US" sz="900" b="1" kern="1200" dirty="0">
                <a:solidFill>
                  <a:schemeClr val="tx1"/>
                </a:solidFill>
                <a:effectLst/>
                <a:latin typeface="Segoe UI Light" pitchFamily="34" charset="0"/>
                <a:ea typeface="+mn-ea"/>
                <a:cs typeface="+mn-cs"/>
              </a:rPr>
              <a:t>Deterministic encryption</a:t>
            </a:r>
            <a:r>
              <a:rPr lang="en-US" sz="900" kern="1200" dirty="0">
                <a:solidFill>
                  <a:schemeClr val="tx1"/>
                </a:solidFill>
                <a:effectLst/>
                <a:latin typeface="Segoe UI Light" pitchFamily="34" charset="0"/>
                <a:ea typeface="+mn-ea"/>
                <a:cs typeface="+mn-cs"/>
              </a:rPr>
              <a:t> uses a method that always generates the same encrypted value for any given plain text value. Using deterministic encryption allows grouping, filtering by equality, and joining tables based on encrypted values, but can also allow unauthorized users to guess information about encrypted values by examining patterns in the encrypted column. This weakness is increased when there is a small set of possible encrypted values, such as true/false, or north/south/east/west region. Deterministic encryption must use a column collation with a binary2 sort order for character columns.</a:t>
            </a:r>
          </a:p>
          <a:p>
            <a:r>
              <a:rPr lang="en-US" sz="900" kern="1200" dirty="0">
                <a:solidFill>
                  <a:schemeClr val="tx1"/>
                </a:solidFill>
                <a:effectLst/>
                <a:latin typeface="Segoe UI Light" pitchFamily="34" charset="0"/>
                <a:ea typeface="+mn-ea"/>
                <a:cs typeface="+mn-cs"/>
              </a:rPr>
              <a:t>Use deterministic encryption for columns that will be used as search or grouping parameters, for example, a government ID number. Use randomized encryption for data such as confidential investigation comments—which are not grouped with other records or used to join </a:t>
            </a:r>
            <a:r>
              <a:rPr lang="en-US" dirty="0"/>
              <a:t>tables—from </a:t>
            </a:r>
            <a:r>
              <a:rPr lang="en-US" sz="900" kern="1200" dirty="0">
                <a:solidFill>
                  <a:schemeClr val="tx1"/>
                </a:solidFill>
                <a:effectLst/>
                <a:latin typeface="Segoe UI Light" pitchFamily="34" charset="0"/>
                <a:ea typeface="+mn-ea"/>
                <a:cs typeface="+mn-cs"/>
              </a:rPr>
              <a:t>the row that contains the encrypted column of interest.</a:t>
            </a:r>
          </a:p>
          <a:p>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00" kern="1200" dirty="0">
                <a:solidFill>
                  <a:schemeClr val="tx1"/>
                </a:solidFill>
                <a:effectLst/>
                <a:latin typeface="Segoe UI Light" pitchFamily="34" charset="0"/>
                <a:ea typeface="+mn-ea"/>
                <a:cs typeface="+mn-cs"/>
              </a:rPr>
              <a:t> </a:t>
            </a:r>
            <a:r>
              <a:rPr lang="en-US" sz="700" b="1" i="0" dirty="0">
                <a:solidFill>
                  <a:srgbClr val="E3E3E3"/>
                </a:solidFill>
                <a:effectLst/>
                <a:latin typeface="Segoe UI" panose="020B0502040204020203" pitchFamily="34" charset="0"/>
              </a:rPr>
              <a:t>Selecting Deterministic or Randomized Encryption: </a:t>
            </a:r>
            <a:r>
              <a:rPr lang="en-US" sz="800" dirty="0">
                <a:hlinkClick r:id="rId3"/>
              </a:rPr>
              <a:t>https://docs.microsoft.com/en-us/sql/relational-databases/security/encryption/always-encrypted-database-engine?view=sql-server-ver15#selecting--deterministic-or-randomized-encryption</a:t>
            </a:r>
            <a:endParaRPr lang="en-US" sz="700" kern="1200" dirty="0">
              <a:solidFill>
                <a:schemeClr val="tx1"/>
              </a:solidFill>
              <a:effectLst/>
              <a:latin typeface="Segoe UI Light" pitchFamily="34" charset="0"/>
              <a:ea typeface="+mn-ea"/>
              <a:cs typeface="+mn-cs"/>
            </a:endParaRPr>
          </a:p>
          <a:p>
            <a:r>
              <a:rPr lang="en-US" sz="700" kern="1200" dirty="0">
                <a:solidFill>
                  <a:schemeClr val="tx1"/>
                </a:solidFill>
                <a:effectLst/>
                <a:latin typeface="Segoe UI Light" pitchFamily="34" charset="0"/>
                <a:ea typeface="+mn-ea"/>
                <a:cs typeface="+mn-cs"/>
              </a:rPr>
              <a:t> </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3/18/2022 8:59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3</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6794785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dirty="0">
                <a:solidFill>
                  <a:srgbClr val="E3E3E3"/>
                </a:solidFill>
                <a:effectLst/>
                <a:latin typeface="Segoe UI" panose="020B0502040204020203" pitchFamily="34" charset="0"/>
              </a:rPr>
              <a:t>Always Encrypted cryptography: </a:t>
            </a:r>
            <a:r>
              <a:rPr lang="en-US" dirty="0">
                <a:hlinkClick r:id="rId3"/>
              </a:rPr>
              <a:t>https://docs.microsoft.com/en-us/sql/relational-databases/security/encryption/always-encrypted-cryptography?view=sql-server-ver15</a:t>
            </a:r>
            <a:endParaRPr lang="en-US" b="1" i="0" dirty="0">
              <a:solidFill>
                <a:srgbClr val="E3E3E3"/>
              </a:solidFill>
              <a:effectLst/>
              <a:latin typeface="Segoe UI" panose="020B0502040204020203" pitchFamily="34" charset="0"/>
            </a:endParaRPr>
          </a:p>
          <a:p>
            <a:endParaRPr lang="en-US" dirty="0"/>
          </a:p>
          <a:p>
            <a:pPr algn="l"/>
            <a:r>
              <a:rPr lang="en-US" b="0" i="0" dirty="0">
                <a:solidFill>
                  <a:srgbClr val="E3E3E3"/>
                </a:solidFill>
                <a:effectLst/>
                <a:latin typeface="Segoe UI" panose="020B0502040204020203" pitchFamily="34" charset="0"/>
              </a:rPr>
              <a:t>Always Encrypted uses the </a:t>
            </a:r>
            <a:r>
              <a:rPr lang="en-US" b="1" i="0" dirty="0">
                <a:solidFill>
                  <a:srgbClr val="E3E3E3"/>
                </a:solidFill>
                <a:effectLst/>
                <a:latin typeface="Segoe UI" panose="020B0502040204020203" pitchFamily="34" charset="0"/>
              </a:rPr>
              <a:t>AEAD_AES_256_CBC_HMAC_SHA_256</a:t>
            </a:r>
            <a:r>
              <a:rPr lang="en-US" b="0" i="0" dirty="0">
                <a:solidFill>
                  <a:srgbClr val="E3E3E3"/>
                </a:solidFill>
                <a:effectLst/>
                <a:latin typeface="Segoe UI" panose="020B0502040204020203" pitchFamily="34" charset="0"/>
              </a:rPr>
              <a:t> algorithm to encrypt data in the database.</a:t>
            </a:r>
          </a:p>
          <a:p>
            <a:pPr algn="l"/>
            <a:r>
              <a:rPr lang="en-US" b="1" i="0" dirty="0">
                <a:solidFill>
                  <a:srgbClr val="E3E3E3"/>
                </a:solidFill>
                <a:effectLst/>
                <a:latin typeface="Segoe UI" panose="020B0502040204020203" pitchFamily="34" charset="0"/>
              </a:rPr>
              <a:t>AEAD_AES_256_CBC_HMAC_SHA_256</a:t>
            </a:r>
            <a:r>
              <a:rPr lang="en-US" b="0" i="0" dirty="0">
                <a:solidFill>
                  <a:srgbClr val="E3E3E3"/>
                </a:solidFill>
                <a:effectLst/>
                <a:latin typeface="Segoe UI" panose="020B0502040204020203" pitchFamily="34" charset="0"/>
              </a:rPr>
              <a:t> is derived from the specification draft at </a:t>
            </a:r>
            <a:r>
              <a:rPr lang="en-US" b="0" i="0" u="sng" dirty="0">
                <a:solidFill>
                  <a:srgbClr val="E3E3E3"/>
                </a:solidFill>
                <a:effectLst/>
                <a:latin typeface="Segoe UI" panose="020B0502040204020203" pitchFamily="34" charset="0"/>
                <a:hlinkClick r:id="rId4"/>
              </a:rPr>
              <a:t>https://tools.ietf.org/html/draft-mcgrew-aead-aes-cbc-hmac-sha2-05</a:t>
            </a:r>
            <a:r>
              <a:rPr lang="en-US" b="0" i="0" dirty="0">
                <a:solidFill>
                  <a:srgbClr val="E3E3E3"/>
                </a:solidFill>
                <a:effectLst/>
                <a:latin typeface="Segoe UI" panose="020B0502040204020203" pitchFamily="34" charset="0"/>
              </a:rPr>
              <a:t>. It uses an Authenticated Encryption scheme with Associated Data, following an Encrypt-then-MAC approach. That is, the plaintext is first encrypted, and the MAC is produced based on the resulting ciphertext.</a:t>
            </a:r>
          </a:p>
          <a:p>
            <a:pPr algn="l"/>
            <a:r>
              <a:rPr lang="en-US" b="0" i="0" dirty="0">
                <a:solidFill>
                  <a:srgbClr val="E3E3E3"/>
                </a:solidFill>
                <a:effectLst/>
                <a:latin typeface="Segoe UI" panose="020B0502040204020203" pitchFamily="34" charset="0"/>
              </a:rPr>
              <a:t>In order to conceal patterns, </a:t>
            </a:r>
            <a:r>
              <a:rPr lang="en-US" b="1" i="0" dirty="0">
                <a:solidFill>
                  <a:srgbClr val="E3E3E3"/>
                </a:solidFill>
                <a:effectLst/>
                <a:latin typeface="Segoe UI" panose="020B0502040204020203" pitchFamily="34" charset="0"/>
              </a:rPr>
              <a:t>AEAD_AES_256_CBC_HMAC_SHA_256</a:t>
            </a:r>
            <a:r>
              <a:rPr lang="en-US" b="0" i="0" dirty="0">
                <a:solidFill>
                  <a:srgbClr val="E3E3E3"/>
                </a:solidFill>
                <a:effectLst/>
                <a:latin typeface="Segoe UI" panose="020B0502040204020203" pitchFamily="34" charset="0"/>
              </a:rPr>
              <a:t> uses the Cipher Block Chaining (CBC) mode of operation, where an initial value is fed into the system named the initialization vector (IV). The full description of the CBC mode can be found at </a:t>
            </a:r>
            <a:r>
              <a:rPr lang="en-US" b="0" i="0" u="sng" dirty="0">
                <a:solidFill>
                  <a:srgbClr val="E3E3E3"/>
                </a:solidFill>
                <a:effectLst/>
                <a:latin typeface="Segoe UI" panose="020B0502040204020203" pitchFamily="34" charset="0"/>
                <a:hlinkClick r:id="rId5"/>
              </a:rPr>
              <a:t>https://csrc.nist.gov/publications/nistpubs/800-38a/sp800-38a.pdf</a:t>
            </a:r>
            <a:r>
              <a:rPr lang="en-US" b="0" i="0" dirty="0">
                <a:solidFill>
                  <a:srgbClr val="E3E3E3"/>
                </a:solidFill>
                <a:effectLst/>
                <a:latin typeface="Segoe UI" panose="020B0502040204020203" pitchFamily="34" charset="0"/>
              </a:rPr>
              <a:t>.</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3/18/2022 8:59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4</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6583413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E3E3E3"/>
                </a:solidFill>
                <a:effectLst/>
                <a:latin typeface="Segoe UI" panose="020B0502040204020203" pitchFamily="34" charset="0"/>
              </a:rPr>
              <a:t>Always Encrypted with secure enclav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sql/relational-databases/security/encryption/always-encrypted-enclaves?view=sql-server-ver15</a:t>
            </a: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0" i="0" dirty="0">
                <a:solidFill>
                  <a:srgbClr val="E3E3E3"/>
                </a:solidFill>
                <a:effectLst/>
                <a:latin typeface="Segoe UI" panose="020B0502040204020203" pitchFamily="34" charset="0"/>
              </a:rPr>
              <a:t>Always Encrypted </a:t>
            </a:r>
            <a:r>
              <a:rPr lang="en-US" b="0" i="1" dirty="0">
                <a:solidFill>
                  <a:srgbClr val="E3E3E3"/>
                </a:solidFill>
                <a:effectLst/>
                <a:latin typeface="Segoe UI" panose="020B0502040204020203" pitchFamily="34" charset="0"/>
              </a:rPr>
              <a:t>with secure enclaves</a:t>
            </a:r>
            <a:r>
              <a:rPr lang="en-US" b="0" i="0" dirty="0">
                <a:solidFill>
                  <a:srgbClr val="E3E3E3"/>
                </a:solidFill>
                <a:effectLst/>
                <a:latin typeface="Segoe UI" panose="020B0502040204020203" pitchFamily="34" charset="0"/>
              </a:rPr>
              <a:t> addresses these limitations by allowing computations on plaintext data inside a secure enclave on the server side. A secure enclave is a protected region of memory within the SQL Server process, and acts as a trusted execution environment for processing sensitive data inside the SQL Server engine. A secure enclave appears as a black box to the rest of the SQL Server and other processes on the hosting machine. There is no way to view any data or code inside the enclave from the outside, even with a debugger.</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0" i="0" dirty="0">
              <a:solidFill>
                <a:srgbClr val="E3E3E3"/>
              </a:solidFill>
              <a:effectLst/>
              <a:latin typeface="Segoe UI" panose="020B0502040204020203" pitchFamily="34" charset="0"/>
            </a:endParaRPr>
          </a:p>
          <a:p>
            <a:pPr algn="l"/>
            <a:r>
              <a:rPr lang="en-US" b="0" i="0" dirty="0">
                <a:solidFill>
                  <a:srgbClr val="E3E3E3"/>
                </a:solidFill>
                <a:effectLst/>
                <a:latin typeface="Segoe UI" panose="020B0502040204020203" pitchFamily="34" charset="0"/>
              </a:rPr>
              <a:t>When parsing an application's query, the SQL Server Engine determines if the query contains any operations on encrypted data that require the use of the secure enclave. For queries where the secure enclave needs to be accessed:</a:t>
            </a:r>
          </a:p>
          <a:p>
            <a:pPr algn="l">
              <a:buFont typeface="Arial" panose="020B0604020202020204" pitchFamily="34" charset="0"/>
              <a:buChar char="•"/>
            </a:pPr>
            <a:r>
              <a:rPr lang="en-US" b="0" i="0" dirty="0">
                <a:solidFill>
                  <a:srgbClr val="E3E3E3"/>
                </a:solidFill>
                <a:effectLst/>
                <a:latin typeface="Segoe UI" panose="020B0502040204020203" pitchFamily="34" charset="0"/>
              </a:rPr>
              <a:t>The client driver sends the column encryption keys required for the operations to the secure enclave (over a secure channel).</a:t>
            </a:r>
          </a:p>
          <a:p>
            <a:pPr algn="l">
              <a:buFont typeface="Arial" panose="020B0604020202020204" pitchFamily="34" charset="0"/>
              <a:buChar char="•"/>
            </a:pPr>
            <a:r>
              <a:rPr lang="en-US" b="0" i="0" dirty="0">
                <a:solidFill>
                  <a:srgbClr val="E3E3E3"/>
                </a:solidFill>
                <a:effectLst/>
                <a:latin typeface="Segoe UI" panose="020B0502040204020203" pitchFamily="34" charset="0"/>
              </a:rPr>
              <a:t>Then, the client driver submits the query for execution along with the encrypted query parameters.</a:t>
            </a:r>
          </a:p>
          <a:p>
            <a:pPr algn="l"/>
            <a:r>
              <a:rPr lang="en-US" b="0" i="0" dirty="0">
                <a:solidFill>
                  <a:srgbClr val="E3E3E3"/>
                </a:solidFill>
                <a:effectLst/>
                <a:latin typeface="Segoe UI" panose="020B0502040204020203" pitchFamily="34" charset="0"/>
              </a:rPr>
              <a:t>During query processing, the data or the column encryption keys are not exposed in plaintext in the SQL Server Engine outside of the secure enclave. The SQL Server Engine delegates cryptographic operations and computations on encrypted columns to the secure enclave. If needed, the secure enclave decrypts the query parameters and/or the data stored in encrypted columns and performs the requested operations.</a:t>
            </a:r>
          </a:p>
          <a:p>
            <a:pPr algn="l"/>
            <a:r>
              <a:rPr lang="en-US" b="0" i="0" dirty="0">
                <a:solidFill>
                  <a:srgbClr val="E3E3E3"/>
                </a:solidFill>
                <a:effectLst/>
                <a:latin typeface="Segoe UI" panose="020B0502040204020203" pitchFamily="34" charset="0"/>
              </a:rPr>
              <a:t>In SQL Server 2019 (15.x), Always Encrypted with secure enclaves uses </a:t>
            </a:r>
            <a:r>
              <a:rPr lang="en-US" b="0" i="0" u="sng" dirty="0">
                <a:solidFill>
                  <a:srgbClr val="E3E3E3"/>
                </a:solidFill>
                <a:effectLst/>
                <a:latin typeface="Segoe UI" panose="020B0502040204020203" pitchFamily="34" charset="0"/>
                <a:hlinkClick r:id="rId4"/>
              </a:rPr>
              <a:t>Virtualization-based Security (VBS)</a:t>
            </a:r>
            <a:r>
              <a:rPr lang="en-US" b="0" i="0" dirty="0">
                <a:solidFill>
                  <a:srgbClr val="E3E3E3"/>
                </a:solidFill>
                <a:effectLst/>
                <a:latin typeface="Segoe UI" panose="020B0502040204020203" pitchFamily="34" charset="0"/>
              </a:rPr>
              <a:t> secure memory enclaves (also known as Virtual Secure Mode, or VSM enclaves) in Window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i="0" dirty="0">
              <a:solidFill>
                <a:srgbClr val="E3E3E3"/>
              </a:solidFill>
              <a:effectLst/>
              <a:latin typeface="Segoe UI" panose="020B0502040204020203" pitchFamily="34" charset="0"/>
            </a:endParaRPr>
          </a:p>
        </p:txBody>
      </p:sp>
    </p:spTree>
    <p:extLst>
      <p:ext uri="{BB962C8B-B14F-4D97-AF65-F5344CB8AC3E}">
        <p14:creationId xmlns:p14="http://schemas.microsoft.com/office/powerpoint/2010/main" val="2435889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err="1">
                <a:solidFill>
                  <a:srgbClr val="E3E3E3"/>
                </a:solidFill>
                <a:effectLst/>
                <a:latin typeface="Segoe UI" panose="020B0502040204020203" pitchFamily="34" charset="0"/>
              </a:rPr>
              <a:t>sys.column_master_keys</a:t>
            </a:r>
            <a:r>
              <a:rPr lang="en-US" b="1" i="0" dirty="0">
                <a:solidFill>
                  <a:srgbClr val="E3E3E3"/>
                </a:solidFill>
                <a:effectLst/>
                <a:latin typeface="Segoe UI" panose="020B0502040204020203" pitchFamily="34" charset="0"/>
              </a:rPr>
              <a:t> (Transact-SQL):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sql/relational-databases/system-catalog-views/sys-column-master-keys-transact-sql?view=sql-server-ver15</a:t>
            </a: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err="1">
                <a:solidFill>
                  <a:srgbClr val="E3E3E3"/>
                </a:solidFill>
                <a:effectLst/>
                <a:latin typeface="Segoe UI" panose="020B0502040204020203" pitchFamily="34" charset="0"/>
              </a:rPr>
              <a:t>sys.column_encryption_keys</a:t>
            </a:r>
            <a:r>
              <a:rPr lang="en-US" b="1" i="0" dirty="0">
                <a:solidFill>
                  <a:srgbClr val="E3E3E3"/>
                </a:solidFill>
                <a:effectLst/>
                <a:latin typeface="Segoe UI" panose="020B0502040204020203" pitchFamily="34" charset="0"/>
              </a:rPr>
              <a:t> (Transact-SQL):</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4"/>
              </a:rPr>
              <a:t>https://docs.microsoft.com/en-us/sql/relational-databases/system-catalog-views/sys-column-encryption-keys-transact-sql?view=sql-server-ver15</a:t>
            </a: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err="1">
                <a:solidFill>
                  <a:srgbClr val="E3E3E3"/>
                </a:solidFill>
                <a:effectLst/>
                <a:latin typeface="Segoe UI" panose="020B0502040204020203" pitchFamily="34" charset="0"/>
              </a:rPr>
              <a:t>sys.column_encryption_key_values</a:t>
            </a:r>
            <a:r>
              <a:rPr lang="en-US" b="1" i="0" dirty="0">
                <a:solidFill>
                  <a:srgbClr val="E3E3E3"/>
                </a:solidFill>
                <a:effectLst/>
                <a:latin typeface="Segoe UI" panose="020B0502040204020203" pitchFamily="34" charset="0"/>
              </a:rPr>
              <a:t> (Transact-SQL):</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E3E3E3"/>
                </a:solidFill>
                <a:effectLst/>
                <a:latin typeface="Segoe UI" panose="020B0502040204020203" pitchFamily="34" charset="0"/>
              </a:rPr>
              <a:t> </a:t>
            </a:r>
            <a:r>
              <a:rPr lang="en-US" dirty="0">
                <a:hlinkClick r:id="rId5"/>
              </a:rPr>
              <a:t>https://docs.microsoft.com/en-us/sql/relational-databases/system-catalog-views/sys-column-encryption-key-values-transact-sql?view=sql-server-ver15</a:t>
            </a:r>
            <a:endParaRPr lang="en-US" b="1" i="0" dirty="0">
              <a:solidFill>
                <a:srgbClr val="E3E3E3"/>
              </a:solidFill>
              <a:effectLst/>
              <a:latin typeface="Segoe UI" panose="020B0502040204020203" pitchFamily="34" charset="0"/>
            </a:endParaRPr>
          </a:p>
          <a:p>
            <a:endParaRPr lang="en-US" dirty="0"/>
          </a:p>
        </p:txBody>
      </p:sp>
    </p:spTree>
    <p:extLst>
      <p:ext uri="{BB962C8B-B14F-4D97-AF65-F5344CB8AC3E}">
        <p14:creationId xmlns:p14="http://schemas.microsoft.com/office/powerpoint/2010/main" val="22757524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err="1">
                <a:solidFill>
                  <a:srgbClr val="E3E3E3"/>
                </a:solidFill>
                <a:effectLst/>
                <a:latin typeface="Segoe UI" panose="020B0502040204020203" pitchFamily="34" charset="0"/>
              </a:rPr>
              <a:t>sys.column_master_keys</a:t>
            </a:r>
            <a:r>
              <a:rPr lang="en-US" b="1" i="0" dirty="0">
                <a:solidFill>
                  <a:srgbClr val="E3E3E3"/>
                </a:solidFill>
                <a:effectLst/>
                <a:latin typeface="Segoe UI" panose="020B0502040204020203" pitchFamily="34" charset="0"/>
              </a:rPr>
              <a:t> (Transact-SQL):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sql/relational-databases/system-catalog-views/sys-column-master-keys-transact-sql?view=sql-server-ver15</a:t>
            </a: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err="1">
                <a:solidFill>
                  <a:srgbClr val="E3E3E3"/>
                </a:solidFill>
                <a:effectLst/>
                <a:latin typeface="Segoe UI" panose="020B0502040204020203" pitchFamily="34" charset="0"/>
              </a:rPr>
              <a:t>sys.column_encryption_keys</a:t>
            </a:r>
            <a:r>
              <a:rPr lang="en-US" b="1" i="0" dirty="0">
                <a:solidFill>
                  <a:srgbClr val="E3E3E3"/>
                </a:solidFill>
                <a:effectLst/>
                <a:latin typeface="Segoe UI" panose="020B0502040204020203" pitchFamily="34" charset="0"/>
              </a:rPr>
              <a:t> (Transact-SQL):</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4"/>
              </a:rPr>
              <a:t>https://docs.microsoft.com/en-us/sql/relational-databases/system-catalog-views/sys-column-encryption-keys-transact-sql?view=sql-server-ver15</a:t>
            </a: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i="0" dirty="0">
              <a:solidFill>
                <a:srgbClr val="E3E3E3"/>
              </a:solidFill>
              <a:effectLst/>
              <a:latin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err="1">
                <a:solidFill>
                  <a:srgbClr val="E3E3E3"/>
                </a:solidFill>
                <a:effectLst/>
                <a:latin typeface="Segoe UI" panose="020B0502040204020203" pitchFamily="34" charset="0"/>
              </a:rPr>
              <a:t>sys.column_encryption_key_values</a:t>
            </a:r>
            <a:r>
              <a:rPr lang="en-US" b="1" i="0" dirty="0">
                <a:solidFill>
                  <a:srgbClr val="E3E3E3"/>
                </a:solidFill>
                <a:effectLst/>
                <a:latin typeface="Segoe UI" panose="020B0502040204020203" pitchFamily="34" charset="0"/>
              </a:rPr>
              <a:t> (Transact-SQL):</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E3E3E3"/>
                </a:solidFill>
                <a:effectLst/>
                <a:latin typeface="Segoe UI" panose="020B0502040204020203" pitchFamily="34" charset="0"/>
              </a:rPr>
              <a:t> </a:t>
            </a:r>
            <a:r>
              <a:rPr lang="en-US" dirty="0">
                <a:hlinkClick r:id="rId5"/>
              </a:rPr>
              <a:t>https://docs.microsoft.com/en-us/sql/relational-databases/system-catalog-views/sys-column-encryption-key-values-transact-sql?view=sql-server-ver15</a:t>
            </a:r>
            <a:endParaRPr lang="en-US" b="1" i="0" dirty="0">
              <a:solidFill>
                <a:srgbClr val="E3E3E3"/>
              </a:solidFill>
              <a:effectLst/>
              <a:latin typeface="Segoe UI" panose="020B0502040204020203" pitchFamily="34" charset="0"/>
            </a:endParaRPr>
          </a:p>
          <a:p>
            <a:endParaRPr lang="en-US" dirty="0"/>
          </a:p>
        </p:txBody>
      </p:sp>
    </p:spTree>
    <p:extLst>
      <p:ext uri="{BB962C8B-B14F-4D97-AF65-F5344CB8AC3E}">
        <p14:creationId xmlns:p14="http://schemas.microsoft.com/office/powerpoint/2010/main" val="37355823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E3E3E3"/>
                </a:solidFill>
                <a:effectLst/>
                <a:latin typeface="Segoe UI" panose="020B0502040204020203" pitchFamily="34" charset="0"/>
              </a:rPr>
              <a:t>Query columns using Always Encrypted with SQL Server Management Studio:</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sql/relational-databases/security/encryption/always-encrypted-query-columns-ssms?view=sql-server-ver15</a:t>
            </a:r>
            <a:endParaRPr lang="en-US" b="1" i="0" dirty="0">
              <a:solidFill>
                <a:srgbClr val="E3E3E3"/>
              </a:solidFill>
              <a:effectLst/>
              <a:latin typeface="Segoe UI" panose="020B0502040204020203" pitchFamily="34" charset="0"/>
            </a:endParaRPr>
          </a:p>
          <a:p>
            <a:endParaRPr lang="en-US" dirty="0"/>
          </a:p>
        </p:txBody>
      </p:sp>
    </p:spTree>
    <p:extLst>
      <p:ext uri="{BB962C8B-B14F-4D97-AF65-F5344CB8AC3E}">
        <p14:creationId xmlns:p14="http://schemas.microsoft.com/office/powerpoint/2010/main" val="40709884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i="0" dirty="0">
                <a:solidFill>
                  <a:srgbClr val="E3E3E3"/>
                </a:solidFill>
                <a:effectLst/>
                <a:latin typeface="Segoe UI" panose="020B0502040204020203" pitchFamily="34" charset="0"/>
              </a:rPr>
              <a:t>Using Always Encrypted with the .NET Framework Data Provider for SQL Server:</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hlinkClick r:id="rId3"/>
              </a:rPr>
              <a:t>https://docs.microsoft.com/en-us/sql/relational-databases/security/encryption/develop-using-always-encrypted-with-net-framework-data-provider?view=sql-server-ver15</a:t>
            </a:r>
            <a:endParaRPr lang="en-US" b="1" i="0" dirty="0">
              <a:solidFill>
                <a:srgbClr val="E3E3E3"/>
              </a:solidFill>
              <a:effectLst/>
              <a:latin typeface="Segoe UI" panose="020B0502040204020203" pitchFamily="34" charset="0"/>
            </a:endParaRPr>
          </a:p>
          <a:p>
            <a:endParaRPr lang="en-US" dirty="0"/>
          </a:p>
          <a:p>
            <a:r>
              <a:rPr lang="en-US" b="0" i="0" dirty="0">
                <a:solidFill>
                  <a:srgbClr val="E3E3E3"/>
                </a:solidFill>
                <a:effectLst/>
                <a:latin typeface="Segoe UI" panose="020B0502040204020203" pitchFamily="34" charset="0"/>
              </a:rPr>
              <a:t>Always Encrypted allows client applications to encrypt sensitive data and never reveal the data or the encryption keys to SQL Server or Azure SQL Database. An Always Encrypted enabled driver, such as the .NET Framework Data Provider for SQL Server, achieves this by transparently encrypting and decrypting sensitive data in the client application. The driver automatically determines which query parameters correspond to sensitive database columns (protected using Always Encrypted), and encrypts the values of those parameters before passing the data to SQL Server or Azure SQL Database.</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3/18/2022 8:59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9</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0332265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b="1" kern="1200" dirty="0">
                <a:solidFill>
                  <a:schemeClr val="tx1"/>
                </a:solidFill>
                <a:effectLst/>
                <a:latin typeface="Segoe UI Light" pitchFamily="34" charset="0"/>
                <a:ea typeface="+mn-ea"/>
                <a:cs typeface="+mn-cs"/>
              </a:rPr>
              <a:t>Objective</a:t>
            </a:r>
            <a:r>
              <a:rPr lang="en-US" kern="1200" dirty="0">
                <a:solidFill>
                  <a:schemeClr val="tx1"/>
                </a:solidFill>
                <a:effectLst/>
                <a:latin typeface="Segoe UI Light" pitchFamily="34" charset="0"/>
                <a:ea typeface="+mn-ea"/>
                <a:cs typeface="+mn-cs"/>
              </a:rPr>
              <a:t>: </a:t>
            </a:r>
            <a:r>
              <a:rPr lang="en-US" sz="900" dirty="0">
                <a:latin typeface="Segoe UI Light" pitchFamily="34" charset="0"/>
              </a:rPr>
              <a:t>T</a:t>
            </a:r>
            <a:r>
              <a:rPr lang="en-US" sz="900" kern="1200" dirty="0">
                <a:solidFill>
                  <a:schemeClr val="tx1"/>
                </a:solidFill>
                <a:effectLst/>
                <a:latin typeface="Segoe UI Light" pitchFamily="34" charset="0"/>
                <a:ea typeface="+mn-ea"/>
                <a:cs typeface="+mn-cs"/>
              </a:rPr>
              <a:t>his slide includes some general limitations of Always Encrypted.</a:t>
            </a:r>
            <a:br>
              <a:rPr lang="en-US" sz="900" kern="1200" dirty="0">
                <a:solidFill>
                  <a:schemeClr val="tx1"/>
                </a:solidFill>
                <a:effectLst/>
                <a:latin typeface="Segoe UI Light" pitchFamily="34" charset="0"/>
                <a:ea typeface="+mn-ea"/>
                <a:cs typeface="+mn-cs"/>
              </a:rPr>
            </a:br>
            <a:endParaRPr lang="en-US" sz="105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If a column is encrypted, then all range-related operations such as greater/less than, pattern matching using LIKE, etc. are disallowed. Furthermore, you can’t pass encrypted values to functions, user-defined or otherwise, because the database doesn’t have access to the unencrypted value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Unsupported data types include xml, </a:t>
            </a:r>
            <a:r>
              <a:rPr lang="en-US" sz="900" kern="1200" dirty="0" err="1">
                <a:solidFill>
                  <a:schemeClr val="tx1"/>
                </a:solidFill>
                <a:effectLst/>
                <a:latin typeface="Segoe UI Light" pitchFamily="34" charset="0"/>
                <a:ea typeface="+mn-ea"/>
                <a:cs typeface="+mn-cs"/>
              </a:rPr>
              <a:t>rowversion</a:t>
            </a:r>
            <a:r>
              <a:rPr lang="en-US" sz="900" kern="1200" dirty="0">
                <a:solidFill>
                  <a:schemeClr val="tx1"/>
                </a:solidFill>
                <a:effectLst/>
                <a:latin typeface="Segoe UI Light" pitchFamily="34" charset="0"/>
                <a:ea typeface="+mn-ea"/>
                <a:cs typeface="+mn-cs"/>
              </a:rPr>
              <a:t>, image, </a:t>
            </a:r>
            <a:r>
              <a:rPr lang="en-US" sz="900" kern="1200" dirty="0" err="1">
                <a:solidFill>
                  <a:schemeClr val="tx1"/>
                </a:solidFill>
                <a:effectLst/>
                <a:latin typeface="Segoe UI Light" pitchFamily="34" charset="0"/>
                <a:ea typeface="+mn-ea"/>
                <a:cs typeface="+mn-cs"/>
              </a:rPr>
              <a:t>ntext</a:t>
            </a:r>
            <a:r>
              <a:rPr lang="en-US" sz="900" kern="1200" dirty="0">
                <a:solidFill>
                  <a:schemeClr val="tx1"/>
                </a:solidFill>
                <a:effectLst/>
                <a:latin typeface="Segoe UI Light" pitchFamily="34" charset="0"/>
                <a:ea typeface="+mn-ea"/>
                <a:cs typeface="+mn-cs"/>
              </a:rPr>
              <a:t>, text, </a:t>
            </a:r>
            <a:r>
              <a:rPr lang="en-US" sz="900" kern="1200" dirty="0" err="1">
                <a:solidFill>
                  <a:schemeClr val="tx1"/>
                </a:solidFill>
                <a:effectLst/>
                <a:latin typeface="Segoe UI Light" pitchFamily="34" charset="0"/>
                <a:ea typeface="+mn-ea"/>
                <a:cs typeface="+mn-cs"/>
              </a:rPr>
              <a:t>sql_variant</a:t>
            </a:r>
            <a:r>
              <a:rPr lang="en-US" sz="900" kern="1200" dirty="0">
                <a:solidFill>
                  <a:schemeClr val="tx1"/>
                </a:solidFill>
                <a:effectLst/>
                <a:latin typeface="Segoe UI Light" pitchFamily="34" charset="0"/>
                <a:ea typeface="+mn-ea"/>
                <a:cs typeface="+mn-cs"/>
              </a:rPr>
              <a:t>, hierarchyid, geography, geometry, and user defined-types. </a:t>
            </a:r>
            <a:r>
              <a:rPr lang="en-US" kern="1200" dirty="0">
                <a:solidFill>
                  <a:schemeClr val="tx1"/>
                </a:solidFill>
                <a:effectLst/>
                <a:latin typeface="Segoe UI Light" pitchFamily="34" charset="0"/>
                <a:ea typeface="+mn-ea"/>
                <a:cs typeface="+mn-cs"/>
              </a:rPr>
              <a:t>Always Encrypted is not supported for the columns with the characteristics  such as FILESTREAM columns, columns with ROWGUIDCOL property, or string (varchar, char, etc.) columns with non-bin2 collation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following clauses cannot be used for encrypted columns:</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FOR XML</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FOR JSON PATH</a:t>
            </a:r>
            <a:endParaRPr lang="en-US" sz="11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following features do not work on encrypted columns:</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Transactional or merge replication</a:t>
            </a:r>
            <a:endParaRPr lang="en-US" sz="11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Distributed queries (linked servers)</a:t>
            </a:r>
          </a:p>
          <a:p>
            <a:pPr marL="171450" lvl="0" indent="-171450">
              <a:buFont typeface="Arial" panose="020B0604020202020204" pitchFamily="34" charset="0"/>
              <a:buChar char="•"/>
            </a:pPr>
            <a:endParaRPr lang="en-US" sz="900"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3/18/2022 8:59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1658726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i="0" dirty="0">
                <a:solidFill>
                  <a:srgbClr val="E3E3E3"/>
                </a:solidFill>
                <a:effectLst/>
                <a:latin typeface="Segoe UI" panose="020B0502040204020203" pitchFamily="34" charset="0"/>
              </a:rPr>
              <a:t>Database Permissions: </a:t>
            </a:r>
            <a:r>
              <a:rPr lang="en-US" dirty="0">
                <a:hlinkClick r:id="rId3"/>
              </a:rPr>
              <a:t>https://docs.microsoft.com/en-us/sql/relational-databases/security/encryption/always-encrypted-database-engine?view=sql-server-ver15#database-permissions</a:t>
            </a:r>
            <a:endParaRPr lang="en-US" b="1" i="0" dirty="0">
              <a:solidFill>
                <a:srgbClr val="E3E3E3"/>
              </a:solidFill>
              <a:effectLst/>
              <a:latin typeface="Segoe UI" panose="020B0502040204020203" pitchFamily="34" charset="0"/>
            </a:endParaRPr>
          </a:p>
          <a:p>
            <a:endParaRPr lang="en-US" dirty="0"/>
          </a:p>
          <a:p>
            <a:r>
              <a:rPr lang="en-CA" dirty="0"/>
              <a:t>The permissions apply to actions using Transact-SQL, Management Studio (dialog boxes and wizard), or Windows PowerShell.</a:t>
            </a:r>
          </a:p>
          <a:p>
            <a:endParaRPr lang="en-CA" dirty="0"/>
          </a:p>
          <a:p>
            <a:r>
              <a:rPr lang="en-CA" dirty="0"/>
              <a:t>The two view permissions are required when selecting encrypted columns, even if the user does not have permission to decrypt the columns.</a:t>
            </a:r>
          </a:p>
          <a:p>
            <a:endParaRPr lang="en-CA" dirty="0"/>
          </a:p>
          <a:p>
            <a:r>
              <a:rPr lang="en-CA" dirty="0"/>
              <a:t>In SQL Server, both view permissions are granted by default to the public fixed database role. A database administrator may choose to revoke (or deny) the view permissions to the public role and grant them to specific roles or users to implement more restricted control.</a:t>
            </a:r>
          </a:p>
          <a:p>
            <a:endParaRPr lang="en-CA" dirty="0"/>
          </a:p>
          <a:p>
            <a:r>
              <a:rPr lang="en-CA" dirty="0"/>
              <a:t>In SQL Database, the view permissions are not granted by default to the public fixed database role. This enables certain existing, legacy tools (using older versions of </a:t>
            </a:r>
            <a:r>
              <a:rPr lang="en-CA" dirty="0" err="1"/>
              <a:t>DaxFx</a:t>
            </a:r>
            <a:r>
              <a:rPr lang="en-CA" dirty="0"/>
              <a:t>) to work properly. Consequently, to work with encrypted columns (even if not decrypting them) a database administrator must explicitly grant the two view permissions.</a:t>
            </a:r>
          </a:p>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3/18/2022 8:59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41776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this has been running, several other parts of SQLOS have been active:</a:t>
            </a:r>
          </a:p>
          <a:p>
            <a:pPr lvl="1"/>
            <a:r>
              <a:rPr lang="en-US" b="1" dirty="0"/>
              <a:t>Monitoring</a:t>
            </a:r>
            <a:r>
              <a:rPr lang="en-US" dirty="0"/>
              <a:t>: DMVs, Extended Events (</a:t>
            </a:r>
            <a:r>
              <a:rPr lang="en-US" dirty="0" err="1"/>
              <a:t>xEvents</a:t>
            </a:r>
            <a:r>
              <a:rPr lang="en-US" dirty="0"/>
              <a:t>), and so on.</a:t>
            </a:r>
          </a:p>
          <a:p>
            <a:pPr lvl="1"/>
            <a:r>
              <a:rPr lang="en-US" b="1" dirty="0"/>
              <a:t>Deadlock</a:t>
            </a:r>
            <a:r>
              <a:rPr lang="en-US" dirty="0"/>
              <a:t> </a:t>
            </a:r>
            <a:r>
              <a:rPr lang="en-US" b="1" dirty="0"/>
              <a:t>Monitor</a:t>
            </a:r>
            <a:r>
              <a:rPr lang="en-US" dirty="0"/>
              <a:t> thread: Monitors for and deals with deadlocks.</a:t>
            </a:r>
          </a:p>
          <a:p>
            <a:pPr lvl="1"/>
            <a:r>
              <a:rPr lang="en-US" b="1" dirty="0"/>
              <a:t>Lazy</a:t>
            </a:r>
            <a:r>
              <a:rPr lang="en-US" dirty="0"/>
              <a:t> </a:t>
            </a:r>
            <a:r>
              <a:rPr lang="en-US" b="1" dirty="0"/>
              <a:t>Writer</a:t>
            </a:r>
            <a:r>
              <a:rPr lang="en-US" dirty="0"/>
              <a:t> threads: Clock sweeping the buffer pool to maintain the free lists and responsible for writing dirty pages to disk between checkpoints.</a:t>
            </a:r>
          </a:p>
          <a:p>
            <a:pPr lvl="1"/>
            <a:r>
              <a:rPr lang="en-US" b="1" dirty="0"/>
              <a:t>Scheduler</a:t>
            </a:r>
            <a:r>
              <a:rPr lang="en-US" dirty="0"/>
              <a:t> </a:t>
            </a:r>
            <a:r>
              <a:rPr lang="en-US" b="1" dirty="0"/>
              <a:t>Monitor</a:t>
            </a:r>
            <a:r>
              <a:rPr lang="en-US" dirty="0"/>
              <a:t> thread: Monitors scheduler health and detects issues such as non-yielding scenarios.</a:t>
            </a:r>
          </a:p>
          <a:p>
            <a:pPr lvl="1"/>
            <a:r>
              <a:rPr lang="en-US" b="1" dirty="0"/>
              <a:t>Resource</a:t>
            </a:r>
            <a:r>
              <a:rPr lang="en-US" dirty="0"/>
              <a:t> </a:t>
            </a:r>
            <a:r>
              <a:rPr lang="en-US" b="1" dirty="0"/>
              <a:t>Monitor</a:t>
            </a:r>
            <a:r>
              <a:rPr lang="en-US" dirty="0"/>
              <a:t> thread: Monitors available memory from operating system and internal to SQL Server and notifies the Clerks.</a:t>
            </a:r>
          </a:p>
          <a:p>
            <a:endParaRPr lang="en-US" dirty="0"/>
          </a:p>
          <a:p>
            <a:r>
              <a:rPr lang="en-US" dirty="0"/>
              <a:t>The Hosting APIs for external components interface with Microsoft Data Access Components (MDAC) and common language runtime (CLR).</a:t>
            </a:r>
          </a:p>
          <a:p>
            <a:endParaRPr lang="en-GB" dirty="0"/>
          </a:p>
          <a:p>
            <a:pPr marL="171450" indent="-171450">
              <a:buFont typeface="Arial" panose="020B0604020202020204" pitchFamily="34" charset="0"/>
              <a:buChar char="•"/>
            </a:pPr>
            <a:r>
              <a:rPr lang="en-US" dirty="0"/>
              <a:t>The </a:t>
            </a:r>
            <a:r>
              <a:rPr lang="en-US" b="1" dirty="0"/>
              <a:t>Storage Engine</a:t>
            </a:r>
            <a:r>
              <a:rPr lang="en-US" dirty="0"/>
              <a:t> manages all data access, both through transaction-based commands (with the Transaction Manager) and bulk operations such as backup, bulk insert, and certain </a:t>
            </a:r>
            <a:r>
              <a:rPr lang="en-US" dirty="0">
                <a:solidFill>
                  <a:srgbClr val="FF0000"/>
                </a:solidFill>
              </a:rPr>
              <a:t>Database Console Command (DBCC) commands.</a:t>
            </a:r>
          </a:p>
          <a:p>
            <a:pPr marL="171450" indent="-171450">
              <a:buFont typeface="Arial" panose="020B0604020202020204" pitchFamily="34" charset="0"/>
              <a:buChar char="•"/>
            </a:pPr>
            <a:r>
              <a:rPr lang="en-US" b="1" dirty="0"/>
              <a:t>Access Methods</a:t>
            </a:r>
            <a:r>
              <a:rPr lang="en-US" dirty="0"/>
              <a:t> is an important component of the Storage Engine, and contains components to open a table, retrieve qualified data, and update data. </a:t>
            </a:r>
          </a:p>
          <a:p>
            <a:pPr marL="171450" indent="-171450">
              <a:buFont typeface="Arial" panose="020B0604020202020204" pitchFamily="34" charset="0"/>
              <a:buChar char="•"/>
            </a:pPr>
            <a:r>
              <a:rPr lang="en-US" dirty="0"/>
              <a:t>The Access Methods code does not actually retrieve the pages, it will make a request to the </a:t>
            </a:r>
            <a:r>
              <a:rPr lang="en-US" b="1" dirty="0"/>
              <a:t>Buffer Manager</a:t>
            </a:r>
            <a:r>
              <a:rPr lang="en-US" dirty="0"/>
              <a:t>, which holds a copy of the requested data pages in memory (and if the requested page is not in memory, it will retrieve it from disk). By memory, we mean specifically the </a:t>
            </a:r>
            <a:r>
              <a:rPr lang="en-US" b="1" dirty="0"/>
              <a:t>Buffer Pool</a:t>
            </a:r>
            <a:r>
              <a:rPr lang="en-US" dirty="0"/>
              <a:t>, which is part of the SQLOS.</a:t>
            </a:r>
          </a:p>
          <a:p>
            <a:pPr marL="171450" indent="-171450">
              <a:buFont typeface="Arial" panose="020B0604020202020204" pitchFamily="34" charset="0"/>
              <a:buChar char="•"/>
            </a:pPr>
            <a:r>
              <a:rPr lang="en-US" dirty="0"/>
              <a:t>The </a:t>
            </a:r>
            <a:r>
              <a:rPr lang="en-US" b="1" dirty="0"/>
              <a:t>Transaction Manager</a:t>
            </a:r>
            <a:r>
              <a:rPr lang="en-US" dirty="0"/>
              <a:t> ensures that transactions adhere to the ACID properties: atomicity, consistency, isolation, and durability. </a:t>
            </a:r>
          </a:p>
          <a:p>
            <a:pPr marL="171450" indent="-171450">
              <a:buFont typeface="Arial" panose="020B0604020202020204" pitchFamily="34" charset="0"/>
              <a:buChar char="•"/>
            </a:pPr>
            <a:r>
              <a:rPr lang="en-US" dirty="0"/>
              <a:t>It also outlines the boundaries of statements that must be grouped together to form an operation, and it allows “nested” transactions by managing </a:t>
            </a:r>
            <a:r>
              <a:rPr lang="en-US" dirty="0" err="1"/>
              <a:t>savepoints</a:t>
            </a:r>
            <a:r>
              <a:rPr lang="en-US" dirty="0"/>
              <a:t>, if any. Furthermore, it also coordinates with the Lock Manager regarding when locks can be released, based on the isolation level in effect. It also coordinates with Access Methods to determine when old versions of rows are no longer needed and can be removed from the version store.</a:t>
            </a:r>
          </a:p>
          <a:p>
            <a:pPr marL="171450" indent="-171450">
              <a:buFont typeface="Arial" panose="020B0604020202020204" pitchFamily="34" charset="0"/>
              <a:buChar char="•"/>
            </a:pPr>
            <a:r>
              <a:rPr lang="en-US" dirty="0"/>
              <a:t>The </a:t>
            </a:r>
            <a:r>
              <a:rPr lang="en-US" b="1" dirty="0"/>
              <a:t>File Manager</a:t>
            </a:r>
            <a:r>
              <a:rPr lang="en-US" dirty="0"/>
              <a:t> handles actual physical access to data and log files, as well as access to backup devices.</a:t>
            </a:r>
          </a:p>
          <a:p>
            <a:pPr marL="171450" indent="-171450">
              <a:buFont typeface="Arial" panose="020B0604020202020204" pitchFamily="34" charset="0"/>
              <a:buChar char="•"/>
            </a:pPr>
            <a:r>
              <a:rPr lang="en-US" dirty="0"/>
              <a:t>Also included in the storage engine are components for controlling </a:t>
            </a:r>
            <a:r>
              <a:rPr lang="en-US" b="1" dirty="0"/>
              <a:t>utilities</a:t>
            </a:r>
            <a:r>
              <a:rPr lang="en-US" dirty="0"/>
              <a:t> such as Bulk Load, DBCC commands, and Backup/Restore operations.</a:t>
            </a:r>
          </a:p>
          <a:p>
            <a:pPr marL="171450" indent="-171450">
              <a:buFont typeface="Arial" panose="020B0604020202020204" pitchFamily="34" charset="0"/>
              <a:buChar char="•"/>
            </a:pPr>
            <a:r>
              <a:rPr lang="en-US" dirty="0"/>
              <a:t>The </a:t>
            </a:r>
            <a:r>
              <a:rPr lang="en-US" b="1" dirty="0"/>
              <a:t>SQLOS</a:t>
            </a:r>
            <a:r>
              <a:rPr lang="en-US" dirty="0"/>
              <a:t> </a:t>
            </a:r>
            <a:r>
              <a:rPr lang="en-US" b="1" dirty="0"/>
              <a:t>layer</a:t>
            </a:r>
            <a:r>
              <a:rPr lang="en-US" dirty="0"/>
              <a:t> handles activities that are normally considered to be operating system-like responsibilities, such as </a:t>
            </a:r>
            <a:r>
              <a:rPr lang="en-US" b="1" dirty="0"/>
              <a:t>Thread Scheduling</a:t>
            </a:r>
            <a:r>
              <a:rPr lang="en-US" dirty="0"/>
              <a:t>, </a:t>
            </a:r>
            <a:r>
              <a:rPr lang="en-US" b="1" dirty="0"/>
              <a:t>Synchronization services</a:t>
            </a:r>
            <a:r>
              <a:rPr lang="en-US" dirty="0"/>
              <a:t> (latching and deadlock detection), </a:t>
            </a:r>
            <a:r>
              <a:rPr lang="en-US" b="1" dirty="0"/>
              <a:t>Memory management</a:t>
            </a:r>
            <a:r>
              <a:rPr lang="en-US" dirty="0"/>
              <a:t> (including the Buffer Pool), </a:t>
            </a:r>
            <a:r>
              <a:rPr lang="en-US" b="1" dirty="0"/>
              <a:t>Lock management</a:t>
            </a:r>
            <a:r>
              <a:rPr lang="en-US" dirty="0"/>
              <a:t>, </a:t>
            </a:r>
            <a:r>
              <a:rPr lang="en-US" b="1" dirty="0"/>
              <a:t>I/O management</a:t>
            </a:r>
            <a:r>
              <a:rPr lang="en-US" dirty="0"/>
              <a:t> (which establish the completion routines for read/write operations from memory to disk and vice-versa) , and Monitoring (such as DMVs and </a:t>
            </a:r>
            <a:r>
              <a:rPr lang="en-US" dirty="0" err="1"/>
              <a:t>xEvents</a:t>
            </a:r>
            <a:r>
              <a:rPr lang="en-US" dirty="0"/>
              <a:t>).</a:t>
            </a:r>
          </a:p>
          <a:p>
            <a:pPr marL="171450" indent="-171450">
              <a:buFont typeface="Arial" panose="020B0604020202020204" pitchFamily="34" charset="0"/>
              <a:buChar char="•"/>
            </a:pPr>
            <a:r>
              <a:rPr lang="en-US" dirty="0"/>
              <a:t>Locking is a crucial function of a multi-user Remote Desktop Management Services (RDMS) such as SQL Server, even if you are operating an optimistic concurrency model such as snapshot isolation level, to help ensure the isolation and consistency properties of ACID. This is handled by the </a:t>
            </a:r>
            <a:r>
              <a:rPr lang="en-US" b="1" dirty="0"/>
              <a:t>Lock Manager</a:t>
            </a:r>
            <a:r>
              <a:rPr lang="en-US" dirty="0"/>
              <a:t>, whose main job is to provide hierarchical access to data in a concurrent fashion (as allowed by the Isolation Level of the transaction), by managing compatibility between the lock types. It also resolves deadlocks (with the aid of the </a:t>
            </a:r>
            <a:r>
              <a:rPr lang="en-US" b="1" dirty="0"/>
              <a:t>Deadlock Monitor</a:t>
            </a:r>
            <a:r>
              <a:rPr lang="en-US" dirty="0"/>
              <a:t> thread), and escalates locks if needed. Other components such as the other threads in the figure will be explained in an upcoming lesson in this module. </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547306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6E97690-D681-4B47-8FD4-7300C9E579A2}" type="slidenum">
              <a:rPr lang="en-US" smtClean="0"/>
              <a:t>3</a:t>
            </a:fld>
            <a:endParaRPr lang="en-US"/>
          </a:p>
        </p:txBody>
      </p:sp>
    </p:spTree>
    <p:extLst>
      <p:ext uri="{BB962C8B-B14F-4D97-AF65-F5344CB8AC3E}">
        <p14:creationId xmlns:p14="http://schemas.microsoft.com/office/powerpoint/2010/main" val="16019150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70000" lnSpcReduction="20000"/>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a:solidFill>
                  <a:srgbClr val="E3E3E3"/>
                </a:solidFill>
                <a:effectLst/>
                <a:latin typeface="Segoe UI" panose="020B0502040204020203" pitchFamily="34" charset="0"/>
              </a:rPr>
              <a:t>SQL Server Certificates and Asymmetric Keys: </a:t>
            </a:r>
            <a:r>
              <a:rPr lang="en-US" sz="4800">
                <a:hlinkClick r:id="rId3"/>
              </a:rPr>
              <a:t>https://docs.microsoft.com/en-us/sql/relational-databases/security/sql-server-certificates-and-asymmetric-keys?view=sql-server-ver15</a:t>
            </a:r>
            <a:endParaRPr lang="en-US" sz="2000" b="1" i="0">
              <a:solidFill>
                <a:srgbClr val="E3E3E3"/>
              </a:solidFill>
              <a:effectLst/>
              <a:latin typeface="Segoe UI"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Certificates</a:t>
            </a:r>
          </a:p>
          <a:p>
            <a:r>
              <a:rPr lang="en-US">
                <a:effectLst/>
                <a:latin typeface="Segoe UI Light" panose="020B0502040204020203" pitchFamily="34" charset="0"/>
                <a:cs typeface="Segoe UI Light" panose="020B0502040204020203" pitchFamily="34" charset="0"/>
              </a:rPr>
              <a:t>A certificate is a digitally signed document that consists of a public/private key pair. You make the public part of the key available to anyone with whom you want to securely communicate, but</a:t>
            </a:r>
            <a:r>
              <a:rPr lang="en-US" baseline="0">
                <a:effectLst/>
                <a:latin typeface="Segoe UI Light" panose="020B0502040204020203" pitchFamily="34" charset="0"/>
                <a:cs typeface="Segoe UI Light" panose="020B0502040204020203" pitchFamily="34" charset="0"/>
              </a:rPr>
              <a:t> </a:t>
            </a:r>
            <a:r>
              <a:rPr lang="en-US">
                <a:effectLst/>
                <a:latin typeface="Segoe UI Light" panose="020B0502040204020203" pitchFamily="34" charset="0"/>
                <a:cs typeface="Segoe UI Light" panose="020B0502040204020203" pitchFamily="34" charset="0"/>
              </a:rPr>
              <a:t>you must keep the private part of the key secure and accessible only by you. You can use digital certificates to authenticate and/or encrypt messages between two parties. These certificates contain information that can either verify the sender of a message or encrypt and decrypt algorithms.</a:t>
            </a:r>
          </a:p>
          <a:p>
            <a:endParaRPr lang="en-US">
              <a:effectLst/>
              <a:latin typeface="Segoe UI Light" panose="020B0502040204020203" pitchFamily="34"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Authentica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97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Messages signed with your private key identify you as the sender of the message. A third party can use your public key to ensure that the message was signed by the person or organization named in the certificate and not someone impersonating you. </a:t>
            </a:r>
          </a:p>
          <a:p>
            <a:pPr marL="15240" marR="0" indent="-6350">
              <a:lnSpc>
                <a:spcPct val="103000"/>
              </a:lnSpc>
              <a:spcBef>
                <a:spcPts val="0"/>
              </a:spcBef>
              <a:spcAft>
                <a:spcPts val="80"/>
              </a:spcAft>
            </a:pPr>
            <a:endPar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0" indent="-6350">
              <a:lnSpc>
                <a:spcPct val="103000"/>
              </a:lnSpc>
              <a:spcBef>
                <a:spcPts val="0"/>
              </a:spcBef>
              <a:spcAft>
                <a:spcPts val="80"/>
              </a:spcAft>
            </a:pPr>
            <a:r>
              <a:rPr lang="en-US" sz="900" b="1">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Encryption </a:t>
            </a:r>
            <a:endPar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endParaRPr>
          </a:p>
          <a:p>
            <a:pPr marL="15240" marR="8255" indent="-6350">
              <a:lnSpc>
                <a:spcPct val="103000"/>
              </a:lnSpc>
              <a:spcBef>
                <a:spcPts val="0"/>
              </a:spcBef>
              <a:spcAft>
                <a:spcPts val="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You can also use certificates to encrypt and decrypt information. If a message is encrypted by using a public key, it can only be decrypted by using the corresponding private key. Similarly, if data is encrypted by using the private key, it can only be decrypted by using the public key. </a:t>
            </a:r>
          </a:p>
          <a:p>
            <a:pPr marL="15240" marR="8255" indent="-6350">
              <a:lnSpc>
                <a:spcPct val="103000"/>
              </a:lnSpc>
              <a:spcBef>
                <a:spcPts val="0"/>
              </a:spcBef>
              <a:spcAft>
                <a:spcPts val="960"/>
              </a:spcAft>
            </a:pPr>
            <a:r>
              <a:rPr lang="en-US" sz="900">
                <a:solidFill>
                  <a:srgbClr val="000000"/>
                </a:solidFill>
                <a:effectLst/>
                <a:latin typeface="Segoe UI Light" panose="020B0502040204020203" pitchFamily="34" charset="0"/>
                <a:ea typeface="Times New Roman" panose="02020603050405020304" pitchFamily="18" charset="0"/>
                <a:cs typeface="Segoe UI Light" panose="020B0502040204020203" pitchFamily="34" charset="0"/>
              </a:rPr>
              <a:t>This mechanism helps ensure that only services to which you make your public key available can decrypt the messages that you send. For example, if you send information over a public network such as the Internet, that information can be decrypted only by organizations that have a copy of your public key. If they then want to send you secure information, they can encrypt the information by using your public key, and only you can decrypt it by using your private key.</a:t>
            </a:r>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8/2022 9:00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7101328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depicts the need for Always Encrypted and the purpose of the feature in SQL Server 2016.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a:t>
            </a:r>
            <a:r>
              <a:rPr lang="en-US" b="1" dirty="0"/>
              <a:t>s</a:t>
            </a:r>
            <a:r>
              <a:rPr lang="en-US" b="0" dirty="0"/>
              <a:t>:</a:t>
            </a:r>
          </a:p>
          <a:p>
            <a:pPr marL="0" indent="0">
              <a:buFont typeface="Arial" panose="020B0604020202020204" pitchFamily="34" charset="0"/>
              <a:buNone/>
            </a:pPr>
            <a:r>
              <a:rPr lang="en-US" sz="900" kern="1200" dirty="0">
                <a:solidFill>
                  <a:schemeClr val="tx1"/>
                </a:solidFill>
                <a:effectLst/>
                <a:latin typeface="Segoe UI Light" pitchFamily="34" charset="0"/>
                <a:ea typeface="+mn-ea"/>
                <a:cs typeface="+mn-cs"/>
              </a:rPr>
              <a:t>Always Encrypted is a feature designed to protect sensitive data, such as credit card numbers or national identification numbers (for</a:t>
            </a:r>
            <a:r>
              <a:rPr lang="en-US" sz="900" kern="1200" baseline="0" dirty="0">
                <a:solidFill>
                  <a:schemeClr val="tx1"/>
                </a:solidFill>
                <a:effectLst/>
                <a:latin typeface="Segoe UI Light" pitchFamily="34" charset="0"/>
                <a:ea typeface="+mn-ea"/>
                <a:cs typeface="+mn-cs"/>
              </a:rPr>
              <a:t> example,</a:t>
            </a:r>
            <a:r>
              <a:rPr lang="en-US" sz="900" kern="1200" dirty="0">
                <a:solidFill>
                  <a:schemeClr val="tx1"/>
                </a:solidFill>
                <a:effectLst/>
                <a:latin typeface="Segoe UI Light" pitchFamily="34" charset="0"/>
                <a:ea typeface="+mn-ea"/>
                <a:cs typeface="+mn-cs"/>
              </a:rPr>
              <a:t> U.S. </a:t>
            </a:r>
            <a:r>
              <a:rPr lang="en-US" sz="900" dirty="0">
                <a:latin typeface="Segoe UI Light" pitchFamily="34" charset="0"/>
              </a:rPr>
              <a:t>Social Security numbers) stored in Microsoft Azure SQL Database or SQL Server databases.</a:t>
            </a:r>
          </a:p>
          <a:p>
            <a:pPr marL="0" indent="0">
              <a:buFont typeface="Arial" panose="020B0604020202020204" pitchFamily="34" charset="0"/>
              <a:buNone/>
            </a:pPr>
            <a:endParaRPr lang="en-US" sz="900" dirty="0">
              <a:latin typeface="Segoe UI Light" pitchFamily="34" charset="0"/>
            </a:endParaRPr>
          </a:p>
          <a:p>
            <a:pPr marL="0" indent="0">
              <a:buFont typeface="Arial" panose="020B0604020202020204" pitchFamily="34" charset="0"/>
              <a:buNone/>
            </a:pPr>
            <a:r>
              <a:rPr lang="en-US" sz="900" dirty="0">
                <a:latin typeface="Segoe UI Light" pitchFamily="34" charset="0"/>
              </a:rPr>
              <a:t>Always Encrypted allows clients to encrypt sensitive data inside client applications and never reveal the encryption keys to the database engine (SQL Database or SQL Server). As a result, Always Encrypted provides a separation between those who own the data (and can view it) and those who manage the data (but should have no access). In addition, you can query encrypted data and perform various query operations like equality comparison, including </a:t>
            </a:r>
            <a:r>
              <a:rPr lang="en-US" sz="900" kern="1200" dirty="0">
                <a:solidFill>
                  <a:schemeClr val="tx1"/>
                </a:solidFill>
                <a:effectLst/>
                <a:latin typeface="Segoe UI Light" pitchFamily="34" charset="0"/>
                <a:ea typeface="+mn-ea"/>
                <a:cs typeface="+mn-cs"/>
              </a:rPr>
              <a:t>join, group by, and distinct operators.</a:t>
            </a:r>
          </a:p>
          <a:p>
            <a:pPr marL="0" indent="0">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kern="1200" dirty="0">
                <a:solidFill>
                  <a:schemeClr val="tx1"/>
                </a:solidFill>
                <a:effectLst/>
                <a:latin typeface="Segoe UI Light" pitchFamily="34" charset="0"/>
                <a:ea typeface="+mn-ea"/>
                <a:cs typeface="+mn-cs"/>
              </a:rPr>
              <a:t>Always Encrypted allows clients to encrypt sensitive data inside client applications and never reveal the encryption keys to the SQL Server. An Always Encrypted-enabled driver installed on the client computer achieves this by automatically encrypting and decrypting sensitive data in the SQL Server client application.</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The driver encrypts the data in sensitive columns before passing the data to SQL Server, and automatically rewrites queries to preserve the semantics to the application.</a:t>
            </a:r>
          </a:p>
          <a:p>
            <a:pPr marL="0" indent="0">
              <a:buFont typeface="Arial" panose="020B0604020202020204" pitchFamily="34" charset="0"/>
              <a:buNone/>
            </a:pPr>
            <a:endParaRPr lang="en-US" sz="900"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900" kern="1200" dirty="0">
                <a:solidFill>
                  <a:schemeClr val="tx1"/>
                </a:solidFill>
                <a:effectLst/>
                <a:latin typeface="Segoe UI Light" pitchFamily="34" charset="0"/>
                <a:ea typeface="+mn-ea"/>
                <a:cs typeface="+mn-cs"/>
              </a:rPr>
              <a:t>Similarly, the driver transparently decrypts data stored in encrypted database columns that are contained in query results. This technology helps to ensure that your data is constantly encrypted and, no application changes are required.</a:t>
            </a:r>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3/18/2022 8:59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7</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2275858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62500" lnSpcReduction="20000"/>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summarizes Always Encrypted and its benefi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3E3E3"/>
                </a:solidFill>
                <a:effectLst/>
                <a:latin typeface="Segoe UI" panose="020B0502040204020203" pitchFamily="34" charset="0"/>
              </a:rPr>
              <a:t>Always Encrypted: </a:t>
            </a:r>
            <a:r>
              <a:rPr lang="en-US" sz="4800" dirty="0">
                <a:hlinkClick r:id="rId3"/>
              </a:rPr>
              <a:t>https://docs.microsoft.com/en-us/sql/relational-databases/security/encryption/always-encrypted-database-engine?view=sql-server-ver15</a:t>
            </a:r>
            <a:endParaRPr lang="en-US" sz="2000" b="1" i="0" dirty="0">
              <a:solidFill>
                <a:srgbClr val="E3E3E3"/>
              </a:solidFill>
              <a:effectLst/>
              <a:latin typeface="Segoe UI" panose="020B0502040204020203" pitchFamily="34" charset="0"/>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Always Encrypted makes encryption transparent to applications. An Always Encrypted-enabled driver installed on the client’s computer achieves this by automatically encrypting and decrypting sensitive data in the client application. The architecture for Always Encrypted has the application performing the column-level encryption prior to the confidential data being sent to Microsoft</a:t>
            </a:r>
            <a:r>
              <a:rPr lang="en-US" sz="900" kern="1200" baseline="0" dirty="0">
                <a:solidFill>
                  <a:schemeClr val="tx1"/>
                </a:solidFill>
                <a:effectLst/>
                <a:latin typeface="Segoe UI Light" pitchFamily="34" charset="0"/>
                <a:ea typeface="+mn-ea"/>
                <a:cs typeface="+mn-cs"/>
              </a:rPr>
              <a:t> SQL </a:t>
            </a:r>
            <a:r>
              <a:rPr lang="en-US" sz="900" kern="1200" dirty="0">
                <a:solidFill>
                  <a:schemeClr val="tx1"/>
                </a:solidFill>
                <a:effectLst/>
                <a:latin typeface="Segoe UI Light" pitchFamily="34" charset="0"/>
                <a:ea typeface="+mn-ea"/>
                <a:cs typeface="+mn-cs"/>
              </a:rPr>
              <a:t>Server.</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actual encryption is done by the ADO.NET drivers on an application or client machine. When a .NET application sends plain text data to ADO.NET, it</a:t>
            </a:r>
            <a:r>
              <a:rPr lang="en-US" sz="900" kern="1200" baseline="0" dirty="0">
                <a:solidFill>
                  <a:schemeClr val="tx1"/>
                </a:solidFill>
                <a:effectLst/>
                <a:latin typeface="Segoe UI Light" pitchFamily="34" charset="0"/>
                <a:ea typeface="+mn-ea"/>
                <a:cs typeface="+mn-cs"/>
              </a:rPr>
              <a:t> is</a:t>
            </a:r>
            <a:r>
              <a:rPr lang="en-US" sz="900" kern="1200" dirty="0">
                <a:solidFill>
                  <a:schemeClr val="tx1"/>
                </a:solidFill>
                <a:effectLst/>
                <a:latin typeface="Segoe UI Light" pitchFamily="34" charset="0"/>
                <a:ea typeface="+mn-ea"/>
                <a:cs typeface="+mn-cs"/>
              </a:rPr>
              <a:t> encrypted prior to sending it to SQL Server. The only change the application needs to make to store encrypted data is to change the connection string to indicate column encryption is enabled.</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hen column encryption is enabled, ADO.NET will encrypt Always Encrypted columns prior to sending the data to SQL Server and will decrypt Always Encrypted columns when they are read from SQL Server. The diagram on the slide shows this architecture.</a:t>
            </a:r>
            <a:br>
              <a:rPr lang="en-US" sz="900" kern="1200" dirty="0">
                <a:solidFill>
                  <a:schemeClr val="tx1"/>
                </a:solidFill>
                <a:effectLst/>
                <a:latin typeface="Segoe UI Light" pitchFamily="34" charset="0"/>
                <a:ea typeface="+mn-ea"/>
                <a:cs typeface="+mn-cs"/>
              </a:rPr>
            </a:br>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Benefits </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hen it comes to mission-critical security, we have a unique encryption technology that protects data at rest and in motion,</a:t>
            </a:r>
            <a:r>
              <a:rPr lang="en-US" sz="900" kern="1200" baseline="0" dirty="0">
                <a:solidFill>
                  <a:schemeClr val="tx1"/>
                </a:solidFill>
                <a:effectLst/>
                <a:latin typeface="Segoe UI Light" pitchFamily="34" charset="0"/>
                <a:ea typeface="+mn-ea"/>
                <a:cs typeface="+mn-cs"/>
              </a:rPr>
              <a:t> allowing data to be</a:t>
            </a:r>
            <a:r>
              <a:rPr lang="en-US" sz="900" kern="1200" dirty="0">
                <a:solidFill>
                  <a:schemeClr val="tx1"/>
                </a:solidFill>
                <a:effectLst/>
                <a:latin typeface="Segoe UI Light" pitchFamily="34" charset="0"/>
                <a:ea typeface="+mn-ea"/>
                <a:cs typeface="+mn-cs"/>
              </a:rPr>
              <a:t> fully queried while encrypted. The new ADO.NET library provides transparent, client-side encryption, while SQL Server executes T-SQL queries on encrypted data.</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master keys stay with the application and not with the SQL Server. This can work on-premises or from SQL Server in Microsoft</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zure Virtual Machines. So think about the hybrid scenarios in which you want to take advantage of Azure cloud computing, keeping in mind that some databases cannot take advantage of cloud scale due to data security requirement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lways Encrypted allows organizations to encrypt data at rest and in use for storage in Azure, in order to enable delegation of on-premises database administration to third parties or reduce security clearance requirements for their own DBA staff. As a result, Always Encrypted provides a separation between those who own the data (and can view it) and those who manage the data (but should have no access).</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3/18/2022 8:59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8</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306919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92500" lnSpcReduction="10000"/>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e shows how Always Encrypted work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3E3E3"/>
                </a:solidFill>
                <a:effectLst/>
                <a:latin typeface="Segoe UI" panose="020B0502040204020203" pitchFamily="34" charset="0"/>
              </a:rPr>
              <a:t>How it Works: </a:t>
            </a:r>
            <a:r>
              <a:rPr lang="en-US" sz="2000" dirty="0">
                <a:hlinkClick r:id="rId3"/>
              </a:rPr>
              <a:t>https://docs.microsoft.com/en-us/sql/relational-databases/security/encryption/always-encrypted-database-engine?view=sql-server-ver15</a:t>
            </a:r>
            <a:endParaRPr lang="en-US" sz="900" kern="1200" dirty="0">
              <a:solidFill>
                <a:schemeClr val="tx1"/>
              </a:solidFill>
              <a:effectLst/>
              <a:latin typeface="Segoe UI Light" pitchFamily="34" charset="0"/>
              <a:ea typeface="+mn-ea"/>
              <a:cs typeface="+mn-cs"/>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ere is how the feature work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Users specify the individual columns of particular tables to be encrypted.</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After it is encrypted, data appears as an encrypted binary blob at all stages within the SQL Server database—on disk, in memory, during computations, and over the network.</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Users employ a certificate store to save the encryption key.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Both encryption and decryption are done by the ADO.NET </a:t>
            </a:r>
            <a:r>
              <a:rPr lang="en-US" sz="900" kern="1200" dirty="0" err="1">
                <a:solidFill>
                  <a:schemeClr val="tx1"/>
                </a:solidFill>
                <a:effectLst/>
                <a:latin typeface="Segoe UI Light" pitchFamily="34" charset="0"/>
                <a:ea typeface="+mn-ea"/>
                <a:cs typeface="+mn-cs"/>
              </a:rPr>
              <a:t>SqlClient</a:t>
            </a:r>
            <a:r>
              <a:rPr lang="en-US" sz="900" kern="1200" dirty="0">
                <a:solidFill>
                  <a:schemeClr val="tx1"/>
                </a:solidFill>
                <a:effectLst/>
                <a:latin typeface="Segoe UI Light" pitchFamily="34" charset="0"/>
                <a:ea typeface="+mn-ea"/>
                <a:cs typeface="+mn-cs"/>
              </a:rPr>
              <a:t> driver for </a:t>
            </a:r>
            <a:r>
              <a:rPr lang="en-US" sz="900" kern="1200" dirty="0" err="1">
                <a:solidFill>
                  <a:schemeClr val="tx1"/>
                </a:solidFill>
                <a:effectLst/>
                <a:latin typeface="Segoe UI Light" pitchFamily="34" charset="0"/>
                <a:ea typeface="+mn-ea"/>
                <a:cs typeface="+mn-cs"/>
              </a:rPr>
              <a:t>.Net</a:t>
            </a:r>
            <a:r>
              <a:rPr lang="en-US" sz="900" kern="1200" dirty="0">
                <a:solidFill>
                  <a:schemeClr val="tx1"/>
                </a:solidFill>
                <a:effectLst/>
                <a:latin typeface="Segoe UI Light" pitchFamily="34" charset="0"/>
                <a:ea typeface="+mn-ea"/>
                <a:cs typeface="+mn-cs"/>
              </a:rPr>
              <a:t> 4.6. This driver will require access to the encryption key (from the certificate store, generally) and thereafter will communicate with the SQL Server directly to effect transparent encryption.</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Specifically, when queries are parameterized, </a:t>
            </a:r>
            <a:r>
              <a:rPr lang="en-US" sz="900" kern="1200" dirty="0" err="1">
                <a:solidFill>
                  <a:schemeClr val="tx1"/>
                </a:solidFill>
                <a:effectLst/>
                <a:latin typeface="Segoe UI Light" pitchFamily="34" charset="0"/>
                <a:ea typeface="+mn-ea"/>
                <a:cs typeface="+mn-cs"/>
              </a:rPr>
              <a:t>SqlClient</a:t>
            </a:r>
            <a:r>
              <a:rPr lang="en-US" sz="900" kern="1200" dirty="0">
                <a:solidFill>
                  <a:schemeClr val="tx1"/>
                </a:solidFill>
                <a:effectLst/>
                <a:latin typeface="Segoe UI Light" pitchFamily="34" charset="0"/>
                <a:ea typeface="+mn-ea"/>
                <a:cs typeface="+mn-cs"/>
              </a:rPr>
              <a:t> will handshake with the SQL Server and identify which parameters are encrypted and will manage this process in both direction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For example, the client code specifies a select statement with the parameter “where SSN = @SSN” and provides the parameter value “@SSN=’123-45-6789′” and the driver itself intercepts the parameter value and properly encrypts it.</a:t>
            </a:r>
          </a:p>
          <a:p>
            <a:endParaRPr lang="en-US" i="1"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1" kern="1200" dirty="0">
                <a:solidFill>
                  <a:schemeClr val="tx1"/>
                </a:solidFill>
                <a:effectLst/>
                <a:latin typeface="Segoe UI Light" pitchFamily="34" charset="0"/>
                <a:ea typeface="+mn-ea"/>
                <a:cs typeface="+mn-cs"/>
              </a:rPr>
              <a:t>Animation &lt;&lt;first click&gt;&gt; </a:t>
            </a:r>
            <a:r>
              <a:rPr lang="en-US" sz="900" b="1" kern="1200" dirty="0">
                <a:solidFill>
                  <a:schemeClr val="tx1"/>
                </a:solidFill>
                <a:effectLst/>
                <a:latin typeface="Segoe UI Light" pitchFamily="34" charset="0"/>
                <a:ea typeface="+mn-ea"/>
                <a:cs typeface="+mn-cs"/>
              </a:rPr>
              <a:t>“SELECT</a:t>
            </a:r>
            <a:r>
              <a:rPr lang="en-US" sz="900" b="1" kern="1200" baseline="0" dirty="0">
                <a:solidFill>
                  <a:schemeClr val="tx1"/>
                </a:solidFill>
                <a:effectLst/>
                <a:latin typeface="Segoe UI Light" pitchFamily="34" charset="0"/>
                <a:ea typeface="+mn-ea"/>
                <a:cs typeface="+mn-cs"/>
              </a:rPr>
              <a:t> Name FROM Customers WHERE SSN = @SNN”, “111-22-3333” with arrow</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1" kern="1200" dirty="0">
                <a:solidFill>
                  <a:schemeClr val="tx1"/>
                </a:solidFill>
                <a:effectLst/>
                <a:latin typeface="Segoe UI Light" pitchFamily="34" charset="0"/>
                <a:ea typeface="+mn-ea"/>
                <a:cs typeface="+mn-cs"/>
              </a:rPr>
              <a:t>Animation &lt;&lt;second click&gt;&gt; </a:t>
            </a:r>
            <a:r>
              <a:rPr lang="en-US" sz="900" b="1" kern="1200" dirty="0">
                <a:solidFill>
                  <a:schemeClr val="tx1"/>
                </a:solidFill>
                <a:effectLst/>
                <a:latin typeface="Segoe UI Light" pitchFamily="34" charset="0"/>
                <a:ea typeface="+mn-ea"/>
                <a:cs typeface="+mn-cs"/>
              </a:rPr>
              <a:t>“SELECT</a:t>
            </a:r>
            <a:r>
              <a:rPr lang="en-US" sz="900" b="1" kern="1200" baseline="0" dirty="0">
                <a:solidFill>
                  <a:schemeClr val="tx1"/>
                </a:solidFill>
                <a:effectLst/>
                <a:latin typeface="Segoe UI Light" pitchFamily="34" charset="0"/>
                <a:ea typeface="+mn-ea"/>
                <a:cs typeface="+mn-cs"/>
              </a:rPr>
              <a:t> Name FROM Customers WHERE SSN = @SNN” encrypted with arrow</a:t>
            </a:r>
          </a:p>
          <a:p>
            <a:pPr marL="0" marR="0" indent="0" algn="l" defTabSz="932742" rtl="0" eaLnBrk="1" fontAlgn="auto" latinLnBrk="0" hangingPunct="1">
              <a:lnSpc>
                <a:spcPct val="90000"/>
              </a:lnSpc>
              <a:spcBef>
                <a:spcPts val="0"/>
              </a:spcBef>
              <a:spcAft>
                <a:spcPts val="340"/>
              </a:spcAft>
              <a:buClrTx/>
              <a:buSzTx/>
              <a:buFontTx/>
              <a:buNone/>
              <a:tabLst/>
              <a:defRPr/>
            </a:pPr>
            <a:endParaRPr lang="en-US" i="1"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1" kern="1200" dirty="0">
                <a:solidFill>
                  <a:schemeClr val="tx1"/>
                </a:solidFill>
                <a:effectLst/>
                <a:latin typeface="Segoe UI Light" pitchFamily="34" charset="0"/>
                <a:ea typeface="+mn-ea"/>
                <a:cs typeface="+mn-cs"/>
              </a:rPr>
              <a:t>Animation &lt;&lt;third click&gt;&gt; </a:t>
            </a:r>
            <a:r>
              <a:rPr lang="en-US" sz="900" b="1" kern="1200" dirty="0">
                <a:solidFill>
                  <a:schemeClr val="tx1"/>
                </a:solidFill>
                <a:effectLst/>
                <a:latin typeface="Segoe UI Light" pitchFamily="34" charset="0"/>
                <a:ea typeface="+mn-ea"/>
                <a:cs typeface="+mn-cs"/>
              </a:rPr>
              <a:t>Result Set encrypted</a:t>
            </a:r>
            <a:r>
              <a:rPr lang="en-US" sz="900" b="1" kern="1200" baseline="0" dirty="0">
                <a:solidFill>
                  <a:schemeClr val="tx1"/>
                </a:solidFill>
                <a:effectLst/>
                <a:latin typeface="Segoe UI Light" pitchFamily="34" charset="0"/>
                <a:ea typeface="+mn-ea"/>
                <a:cs typeface="+mn-cs"/>
              </a:rPr>
              <a:t> with arrow</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1"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1" kern="1200" dirty="0">
                <a:solidFill>
                  <a:schemeClr val="tx1"/>
                </a:solidFill>
                <a:effectLst/>
                <a:latin typeface="Segoe UI Light" pitchFamily="34" charset="0"/>
                <a:ea typeface="+mn-ea"/>
                <a:cs typeface="+mn-cs"/>
              </a:rPr>
              <a:t>Animation &lt;&lt;fourth click&gt;&gt; </a:t>
            </a:r>
            <a:r>
              <a:rPr lang="en-US" sz="900" b="1" kern="1200" dirty="0">
                <a:solidFill>
                  <a:schemeClr val="tx1"/>
                </a:solidFill>
                <a:effectLst/>
                <a:latin typeface="Segoe UI Light" pitchFamily="34" charset="0"/>
                <a:ea typeface="+mn-ea"/>
                <a:cs typeface="+mn-cs"/>
              </a:rPr>
              <a:t>Result Set </a:t>
            </a:r>
            <a:r>
              <a:rPr lang="en-US" sz="900" b="1" kern="1200" baseline="0" dirty="0">
                <a:solidFill>
                  <a:schemeClr val="tx1"/>
                </a:solidFill>
                <a:effectLst/>
                <a:latin typeface="Segoe UI Light" pitchFamily="34" charset="0"/>
                <a:ea typeface="+mn-ea"/>
                <a:cs typeface="+mn-cs"/>
              </a:rPr>
              <a:t>with arrow</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3/18/2022 8:59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9</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40879667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85000" lnSpcReduction="20000"/>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a:t>
            </a:r>
            <a:r>
              <a:rPr lang="en-US" sz="900" dirty="0">
                <a:latin typeface="Segoe UI Light" pitchFamily="34" charset="0"/>
              </a:rPr>
              <a:t>e highlights the key provisioning steps in Always Encrypted.</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3E3E3"/>
                </a:solidFill>
                <a:effectLst/>
                <a:latin typeface="Segoe UI" panose="020B0502040204020203" pitchFamily="34" charset="0"/>
              </a:rPr>
              <a:t>Overview of key management for Always Encrypted: </a:t>
            </a:r>
            <a:r>
              <a:rPr lang="en-US" sz="2000" dirty="0">
                <a:hlinkClick r:id="rId3"/>
              </a:rPr>
              <a:t>https://docs.microsoft.com/en-us/sql/relational-databases/security/encryption/overview-of-key-management-for-always-encrypted?view=sql-server-ver15</a:t>
            </a:r>
            <a:endParaRPr lang="en-US" sz="900" dirty="0">
              <a:latin typeface="Segoe UI Light" pitchFamily="34" charset="0"/>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Several core concepts are used in Always Encrypted:</a:t>
            </a:r>
          </a:p>
          <a:p>
            <a:pPr marL="171450" indent="-171450">
              <a:buFont typeface="Arial" panose="020B0604020202020204" pitchFamily="34" charset="0"/>
              <a:buChar char="•"/>
            </a:pPr>
            <a:r>
              <a:rPr lang="en-US" sz="900" u="sng" kern="1200" dirty="0">
                <a:solidFill>
                  <a:schemeClr val="tx1"/>
                </a:solidFill>
                <a:effectLst/>
                <a:latin typeface="Segoe UI Light" pitchFamily="34" charset="0"/>
                <a:ea typeface="+mn-ea"/>
                <a:cs typeface="+mn-cs"/>
              </a:rPr>
              <a:t>Column master key (CMK)</a:t>
            </a:r>
            <a:r>
              <a:rPr lang="en-US" sz="900" kern="1200" dirty="0">
                <a:solidFill>
                  <a:schemeClr val="tx1"/>
                </a:solidFill>
                <a:effectLst/>
                <a:latin typeface="Segoe UI Light" pitchFamily="34" charset="0"/>
                <a:ea typeface="+mn-ea"/>
                <a:cs typeface="+mn-cs"/>
              </a:rPr>
              <a:t>: </a:t>
            </a:r>
            <a:r>
              <a:rPr lang="en-US" dirty="0"/>
              <a:t>E</a:t>
            </a:r>
            <a:r>
              <a:rPr lang="en-US" sz="900" dirty="0">
                <a:latin typeface="Segoe UI Light" pitchFamily="34" charset="0"/>
              </a:rPr>
              <a:t>ncryptio</a:t>
            </a:r>
            <a:r>
              <a:rPr lang="en-US" sz="900" kern="1200" dirty="0">
                <a:solidFill>
                  <a:schemeClr val="tx1"/>
                </a:solidFill>
                <a:effectLst/>
                <a:latin typeface="Segoe UI Light" pitchFamily="34" charset="0"/>
                <a:ea typeface="+mn-ea"/>
                <a:cs typeface="+mn-cs"/>
              </a:rPr>
              <a:t>n key that protects the column encryption key(s). You must have at least one master key before encrypting any columns.</a:t>
            </a:r>
          </a:p>
          <a:p>
            <a:pPr marL="171450" lvl="0" indent="-171450">
              <a:buFont typeface="Arial" panose="020B0604020202020204" pitchFamily="34" charset="0"/>
              <a:buChar char="•"/>
            </a:pPr>
            <a:r>
              <a:rPr lang="en-US" sz="900" u="sng" kern="1200" dirty="0">
                <a:solidFill>
                  <a:schemeClr val="tx1"/>
                </a:solidFill>
                <a:effectLst/>
                <a:latin typeface="Segoe UI Light" pitchFamily="34" charset="0"/>
                <a:ea typeface="+mn-ea"/>
                <a:cs typeface="+mn-cs"/>
              </a:rPr>
              <a:t>Column encryption key (CEK)</a:t>
            </a:r>
            <a:r>
              <a:rPr lang="en-US" sz="900" kern="1200" dirty="0">
                <a:solidFill>
                  <a:schemeClr val="tx1"/>
                </a:solidFill>
                <a:effectLst/>
                <a:latin typeface="Segoe UI Light" pitchFamily="34" charset="0"/>
                <a:ea typeface="+mn-ea"/>
                <a:cs typeface="+mn-cs"/>
              </a:rPr>
              <a:t>: Encryption key that actually protects encrypted columns.</a:t>
            </a:r>
          </a:p>
          <a:p>
            <a:pPr marL="171450" lvl="0" indent="-171450">
              <a:buFont typeface="Arial" panose="020B0604020202020204" pitchFamily="34" charset="0"/>
              <a:buChar char="•"/>
            </a:pPr>
            <a:r>
              <a:rPr lang="en-US" sz="900" u="sng" kern="1200" dirty="0">
                <a:solidFill>
                  <a:schemeClr val="tx1"/>
                </a:solidFill>
                <a:effectLst/>
                <a:latin typeface="Segoe UI Light" pitchFamily="34" charset="0"/>
                <a:ea typeface="+mn-ea"/>
                <a:cs typeface="+mn-cs"/>
              </a:rPr>
              <a:t>CMK </a:t>
            </a:r>
            <a:r>
              <a:rPr lang="en-US" u="sng" dirty="0"/>
              <a:t>s</a:t>
            </a:r>
            <a:r>
              <a:rPr lang="en-US" sz="900" u="sng" kern="1200" dirty="0">
                <a:solidFill>
                  <a:schemeClr val="tx1"/>
                </a:solidFill>
                <a:effectLst/>
                <a:latin typeface="Segoe UI Light" pitchFamily="34" charset="0"/>
                <a:ea typeface="+mn-ea"/>
                <a:cs typeface="+mn-cs"/>
              </a:rPr>
              <a:t>tore provider</a:t>
            </a:r>
            <a:r>
              <a:rPr lang="en-US" sz="900" kern="1200" dirty="0">
                <a:solidFill>
                  <a:schemeClr val="tx1"/>
                </a:solidFill>
                <a:effectLst/>
                <a:latin typeface="Segoe UI Light" pitchFamily="34" charset="0"/>
                <a:ea typeface="+mn-ea"/>
                <a:cs typeface="+mn-cs"/>
              </a:rPr>
              <a:t>: Client-side software component that encapsulates a key store containing the column master key. Providers for common types of key stores are available in client-side driver libraries from Microsoft or as standalone downloads. You can also implement your own provider.  .NET Framework 4.6 must be installed in the machine hosting your client application. .NET Framework 4.6 is available with SQL Server 2016 Community Technology Preview 3 (CTP 3.0) and is installed with SQL Server Management Studio.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nformation the driver receives from SQL Server for query parameters that need to be encrypted, and for query results that need to be decrypted, includes:</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An encrypted value of a CEK, used to encrypt or decrypt a parameter or result.</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name of a key store provider that encapsulates a key store containing the column master key that was used to encrypt the CEK.</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A key path that specifies the location of the CMK in the key store.</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name of the algorithm that was used to encrypt the CMK.</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ere are the steps for key </a:t>
            </a:r>
            <a:r>
              <a:rPr lang="en-US" dirty="0"/>
              <a:t>p</a:t>
            </a:r>
            <a:r>
              <a:rPr lang="en-US" sz="900" kern="1200" dirty="0">
                <a:solidFill>
                  <a:schemeClr val="tx1"/>
                </a:solidFill>
                <a:effectLst/>
                <a:latin typeface="Segoe UI Light" pitchFamily="34" charset="0"/>
                <a:ea typeface="+mn-ea"/>
                <a:cs typeface="+mn-cs"/>
              </a:rPr>
              <a:t>rovisioning:</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kern="1200" dirty="0">
                <a:solidFill>
                  <a:schemeClr val="tx1"/>
                </a:solidFill>
                <a:effectLst/>
                <a:latin typeface="Segoe UI Light" pitchFamily="34" charset="0"/>
                <a:ea typeface="+mn-ea"/>
                <a:cs typeface="+mn-cs"/>
              </a:rPr>
              <a:t>Create a local, self-signed certificate on the development machine, which will act as a CMK. </a:t>
            </a:r>
            <a:r>
              <a:rPr lang="en-US" sz="900" b="1" i="1" kern="1200" dirty="0">
                <a:solidFill>
                  <a:schemeClr val="tx1"/>
                </a:solidFill>
                <a:effectLst/>
                <a:latin typeface="Segoe UI Light" pitchFamily="34" charset="0"/>
                <a:ea typeface="+mn-ea"/>
                <a:cs typeface="+mn-cs"/>
              </a:rPr>
              <a:t>Animation &lt;&lt;first click&gt;&gt;</a:t>
            </a:r>
            <a:endParaRPr lang="en-US" sz="900" i="1"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CMK will be used to protect CEKs, which encrypts the sensitive data. </a:t>
            </a:r>
            <a:r>
              <a:rPr lang="en-US" sz="900" b="1" i="1" kern="1200" dirty="0">
                <a:solidFill>
                  <a:schemeClr val="tx1"/>
                </a:solidFill>
                <a:effectLst/>
                <a:latin typeface="Segoe UI Light" pitchFamily="34" charset="0"/>
                <a:ea typeface="+mn-ea"/>
                <a:cs typeface="+mn-cs"/>
              </a:rPr>
              <a:t>Animation &lt;&lt;second click&gt;&gt;</a:t>
            </a:r>
            <a:endParaRPr lang="en-US" sz="900" i="1"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Create a CMK store definition object in the database, which will store the information about the location of the CMK. Please notice that the certificate will never be copied to the database or SQL Server machine. </a:t>
            </a:r>
            <a:r>
              <a:rPr lang="en-US" sz="900" b="1" i="1" kern="1200" dirty="0">
                <a:solidFill>
                  <a:schemeClr val="tx1"/>
                </a:solidFill>
                <a:effectLst/>
                <a:latin typeface="Segoe UI Light" pitchFamily="34" charset="0"/>
                <a:ea typeface="+mn-ea"/>
                <a:cs typeface="+mn-cs"/>
              </a:rPr>
              <a:t>Animation &lt;&lt;third click&gt;&gt;</a:t>
            </a:r>
            <a:endParaRPr lang="en-US" sz="900" i="1"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Finally, upload the encrypted CEK to the required database. </a:t>
            </a:r>
            <a:r>
              <a:rPr lang="en-US" sz="900" b="1" i="1" kern="1200" dirty="0">
                <a:solidFill>
                  <a:schemeClr val="tx1"/>
                </a:solidFill>
                <a:effectLst/>
                <a:latin typeface="Segoe UI Light" pitchFamily="34" charset="0"/>
                <a:ea typeface="+mn-ea"/>
                <a:cs typeface="+mn-cs"/>
              </a:rPr>
              <a:t>Animation &lt;&lt;fourth click&gt;&gt;</a:t>
            </a:r>
            <a:endParaRPr lang="en-US"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3/18/2022 8:59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0</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2320159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fontScale="85000" lnSpcReduction="20000"/>
          </a:bodyPr>
          <a:lstStyle/>
          <a:p>
            <a:r>
              <a:rPr lang="en-US" sz="900" b="1" kern="1200" dirty="0">
                <a:solidFill>
                  <a:schemeClr val="tx1"/>
                </a:solidFill>
                <a:effectLst/>
                <a:latin typeface="Segoe UI Light" pitchFamily="34" charset="0"/>
                <a:ea typeface="+mn-ea"/>
                <a:cs typeface="+mn-cs"/>
              </a:rPr>
              <a:t>Objective</a:t>
            </a:r>
            <a:r>
              <a:rPr lang="en-US" sz="900" kern="1200" dirty="0">
                <a:solidFill>
                  <a:schemeClr val="tx1"/>
                </a:solidFill>
                <a:effectLst/>
                <a:latin typeface="Segoe UI Light" pitchFamily="34" charset="0"/>
                <a:ea typeface="+mn-ea"/>
                <a:cs typeface="+mn-cs"/>
              </a:rPr>
              <a:t>: This slid</a:t>
            </a:r>
            <a:r>
              <a:rPr lang="en-US" sz="900" dirty="0">
                <a:latin typeface="Segoe UI Light" pitchFamily="34" charset="0"/>
              </a:rPr>
              <a:t>e highlights the key provisioning steps in Always Encrypted.</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i="0" dirty="0">
                <a:solidFill>
                  <a:srgbClr val="E3E3E3"/>
                </a:solidFill>
                <a:effectLst/>
                <a:latin typeface="Segoe UI" panose="020B0502040204020203" pitchFamily="34" charset="0"/>
              </a:rPr>
              <a:t>Overview of key management for Always Encrypted: </a:t>
            </a:r>
            <a:r>
              <a:rPr lang="en-US" sz="2000" dirty="0">
                <a:hlinkClick r:id="rId3"/>
              </a:rPr>
              <a:t>https://docs.microsoft.com/en-us/sql/relational-databases/security/encryption/overview-of-key-management-for-always-encrypted?view=sql-server-ver15</a:t>
            </a:r>
            <a:endParaRPr lang="en-US" sz="900" dirty="0">
              <a:latin typeface="Segoe UI Light" pitchFamily="34" charset="0"/>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alking points</a:t>
            </a:r>
            <a:r>
              <a:rPr lang="en-US" sz="900" b="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Several core concepts are used in Always Encrypted:</a:t>
            </a:r>
          </a:p>
          <a:p>
            <a:pPr marL="171450" indent="-171450">
              <a:buFont typeface="Arial" panose="020B0604020202020204" pitchFamily="34" charset="0"/>
              <a:buChar char="•"/>
            </a:pPr>
            <a:r>
              <a:rPr lang="en-US" sz="900" u="sng" kern="1200" dirty="0">
                <a:solidFill>
                  <a:schemeClr val="tx1"/>
                </a:solidFill>
                <a:effectLst/>
                <a:latin typeface="Segoe UI Light" pitchFamily="34" charset="0"/>
                <a:ea typeface="+mn-ea"/>
                <a:cs typeface="+mn-cs"/>
              </a:rPr>
              <a:t>Column master key (CMK)</a:t>
            </a:r>
            <a:r>
              <a:rPr lang="en-US" sz="900" kern="1200" dirty="0">
                <a:solidFill>
                  <a:schemeClr val="tx1"/>
                </a:solidFill>
                <a:effectLst/>
                <a:latin typeface="Segoe UI Light" pitchFamily="34" charset="0"/>
                <a:ea typeface="+mn-ea"/>
                <a:cs typeface="+mn-cs"/>
              </a:rPr>
              <a:t>: </a:t>
            </a:r>
            <a:r>
              <a:rPr lang="en-US" dirty="0"/>
              <a:t>E</a:t>
            </a:r>
            <a:r>
              <a:rPr lang="en-US" sz="900" dirty="0">
                <a:latin typeface="Segoe UI Light" pitchFamily="34" charset="0"/>
              </a:rPr>
              <a:t>ncryptio</a:t>
            </a:r>
            <a:r>
              <a:rPr lang="en-US" sz="900" kern="1200" dirty="0">
                <a:solidFill>
                  <a:schemeClr val="tx1"/>
                </a:solidFill>
                <a:effectLst/>
                <a:latin typeface="Segoe UI Light" pitchFamily="34" charset="0"/>
                <a:ea typeface="+mn-ea"/>
                <a:cs typeface="+mn-cs"/>
              </a:rPr>
              <a:t>n key that protects the column encryption key(s). You must have at least one master key before encrypting any columns.</a:t>
            </a:r>
          </a:p>
          <a:p>
            <a:pPr marL="171450" lvl="0" indent="-171450">
              <a:buFont typeface="Arial" panose="020B0604020202020204" pitchFamily="34" charset="0"/>
              <a:buChar char="•"/>
            </a:pPr>
            <a:r>
              <a:rPr lang="en-US" sz="900" u="sng" kern="1200" dirty="0">
                <a:solidFill>
                  <a:schemeClr val="tx1"/>
                </a:solidFill>
                <a:effectLst/>
                <a:latin typeface="Segoe UI Light" pitchFamily="34" charset="0"/>
                <a:ea typeface="+mn-ea"/>
                <a:cs typeface="+mn-cs"/>
              </a:rPr>
              <a:t>Column encryption key (CEK)</a:t>
            </a:r>
            <a:r>
              <a:rPr lang="en-US" sz="900" kern="1200" dirty="0">
                <a:solidFill>
                  <a:schemeClr val="tx1"/>
                </a:solidFill>
                <a:effectLst/>
                <a:latin typeface="Segoe UI Light" pitchFamily="34" charset="0"/>
                <a:ea typeface="+mn-ea"/>
                <a:cs typeface="+mn-cs"/>
              </a:rPr>
              <a:t>: Encryption key that actually protects encrypted columns.</a:t>
            </a:r>
          </a:p>
          <a:p>
            <a:pPr marL="171450" lvl="0" indent="-171450">
              <a:buFont typeface="Arial" panose="020B0604020202020204" pitchFamily="34" charset="0"/>
              <a:buChar char="•"/>
            </a:pPr>
            <a:r>
              <a:rPr lang="en-US" sz="900" u="sng" kern="1200" dirty="0">
                <a:solidFill>
                  <a:schemeClr val="tx1"/>
                </a:solidFill>
                <a:effectLst/>
                <a:latin typeface="Segoe UI Light" pitchFamily="34" charset="0"/>
                <a:ea typeface="+mn-ea"/>
                <a:cs typeface="+mn-cs"/>
              </a:rPr>
              <a:t>CMK </a:t>
            </a:r>
            <a:r>
              <a:rPr lang="en-US" u="sng" dirty="0"/>
              <a:t>s</a:t>
            </a:r>
            <a:r>
              <a:rPr lang="en-US" sz="900" u="sng" kern="1200" dirty="0">
                <a:solidFill>
                  <a:schemeClr val="tx1"/>
                </a:solidFill>
                <a:effectLst/>
                <a:latin typeface="Segoe UI Light" pitchFamily="34" charset="0"/>
                <a:ea typeface="+mn-ea"/>
                <a:cs typeface="+mn-cs"/>
              </a:rPr>
              <a:t>tore provider</a:t>
            </a:r>
            <a:r>
              <a:rPr lang="en-US" sz="900" kern="1200" dirty="0">
                <a:solidFill>
                  <a:schemeClr val="tx1"/>
                </a:solidFill>
                <a:effectLst/>
                <a:latin typeface="Segoe UI Light" pitchFamily="34" charset="0"/>
                <a:ea typeface="+mn-ea"/>
                <a:cs typeface="+mn-cs"/>
              </a:rPr>
              <a:t>: Client-side software component that encapsulates a key store containing the column master key. Providers for common types of key stores are available in client-side driver libraries from Microsoft or as standalone downloads. You can also implement your own provider.  .NET Framework 4.6 must be installed in the machine hosting your client application. .NET Framework 4.6 is available with SQL Server 2016 Community Technology Preview 3 (CTP 3.0) and is installed with SQL Server Management Studio.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nformation the driver receives from SQL Server for query parameters that need to be encrypted, and for query results that need to be decrypted, includes:</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An encrypted value of a CEK, used to encrypt or decrypt a parameter or result.</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name of a key store provider that encapsulates a key store containing the column master key that was used to encrypt the CEK.</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A key path that specifies the location of the CMK in the key store.</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name of the algorithm that was used to encrypt the CMK.</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ere are the steps for key </a:t>
            </a:r>
            <a:r>
              <a:rPr lang="en-US" dirty="0"/>
              <a:t>p</a:t>
            </a:r>
            <a:r>
              <a:rPr lang="en-US" sz="900" kern="1200" dirty="0">
                <a:solidFill>
                  <a:schemeClr val="tx1"/>
                </a:solidFill>
                <a:effectLst/>
                <a:latin typeface="Segoe UI Light" pitchFamily="34" charset="0"/>
                <a:ea typeface="+mn-ea"/>
                <a:cs typeface="+mn-cs"/>
              </a:rPr>
              <a:t>rovisioning:</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900" kern="1200" dirty="0">
                <a:solidFill>
                  <a:schemeClr val="tx1"/>
                </a:solidFill>
                <a:effectLst/>
                <a:latin typeface="Segoe UI Light" pitchFamily="34" charset="0"/>
                <a:ea typeface="+mn-ea"/>
                <a:cs typeface="+mn-cs"/>
              </a:rPr>
              <a:t>Create a local, self-signed certificate on the development machine, which will act as a CMK. </a:t>
            </a:r>
            <a:r>
              <a:rPr lang="en-US" sz="900" b="1" i="1" kern="1200" dirty="0">
                <a:solidFill>
                  <a:schemeClr val="tx1"/>
                </a:solidFill>
                <a:effectLst/>
                <a:latin typeface="Segoe UI Light" pitchFamily="34" charset="0"/>
                <a:ea typeface="+mn-ea"/>
                <a:cs typeface="+mn-cs"/>
              </a:rPr>
              <a:t>Animation &lt;&lt;first click&gt;&gt;</a:t>
            </a:r>
            <a:endParaRPr lang="en-US" sz="900" i="1"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CMK will be used to protect CEKs, which encrypts the sensitive data. </a:t>
            </a:r>
            <a:r>
              <a:rPr lang="en-US" sz="900" b="1" i="1" kern="1200" dirty="0">
                <a:solidFill>
                  <a:schemeClr val="tx1"/>
                </a:solidFill>
                <a:effectLst/>
                <a:latin typeface="Segoe UI Light" pitchFamily="34" charset="0"/>
                <a:ea typeface="+mn-ea"/>
                <a:cs typeface="+mn-cs"/>
              </a:rPr>
              <a:t>Animation &lt;&lt;second click&gt;&gt;</a:t>
            </a:r>
            <a:endParaRPr lang="en-US" sz="900" i="1"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Create a CMK store definition object in the database, which will store the information about the location of the CMK. Please notice that the certificate will never be copied to the database or SQL Server machine. </a:t>
            </a:r>
            <a:r>
              <a:rPr lang="en-US" sz="900" b="1" i="1" kern="1200" dirty="0">
                <a:solidFill>
                  <a:schemeClr val="tx1"/>
                </a:solidFill>
                <a:effectLst/>
                <a:latin typeface="Segoe UI Light" pitchFamily="34" charset="0"/>
                <a:ea typeface="+mn-ea"/>
                <a:cs typeface="+mn-cs"/>
              </a:rPr>
              <a:t>Animation &lt;&lt;third click&gt;&gt;</a:t>
            </a:r>
            <a:endParaRPr lang="en-US" sz="900" i="1"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Finally, upload the encrypted CEK to the required database. </a:t>
            </a:r>
            <a:r>
              <a:rPr lang="en-US" sz="900" b="1" i="1" kern="1200" dirty="0">
                <a:solidFill>
                  <a:schemeClr val="tx1"/>
                </a:solidFill>
                <a:effectLst/>
                <a:latin typeface="Segoe UI Light" pitchFamily="34" charset="0"/>
                <a:ea typeface="+mn-ea"/>
                <a:cs typeface="+mn-cs"/>
              </a:rPr>
              <a:t>Animation &lt;&lt;fourth click&gt;&gt;</a:t>
            </a:r>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3/18/2022 8:59 AM</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11</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3464698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1255472"/>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84286953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1255472"/>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88218070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1255472"/>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4340125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1255472"/>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82841855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41186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851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1255472"/>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5119357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41186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13117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41186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889903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41186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479696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41186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2534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864880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1255472"/>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22832364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88416992"/>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77543081"/>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36962960"/>
      </p:ext>
    </p:extLst>
  </p:cSld>
  <p:clrMapOvr>
    <a:masterClrMapping/>
  </p:clrMapOvr>
  <p:hf sldNum="0"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27328659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020977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6653094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41186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89034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41186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32344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9"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1255472"/>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9150781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7.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922" r:id="rId1"/>
    <p:sldLayoutId id="2147485356" r:id="rId2"/>
    <p:sldLayoutId id="2147485357" r:id="rId3"/>
    <p:sldLayoutId id="2147485358" r:id="rId4"/>
    <p:sldLayoutId id="2147485301" r:id="rId5"/>
    <p:sldLayoutId id="2147485367" r:id="rId6"/>
    <p:sldLayoutId id="2147485368" r:id="rId7"/>
    <p:sldLayoutId id="2147485369" r:id="rId8"/>
    <p:sldLayoutId id="2147485372" r:id="rId9"/>
    <p:sldLayoutId id="2147485374" r:id="rId10"/>
    <p:sldLayoutId id="2147485375" r:id="rId11"/>
    <p:sldLayoutId id="2147485376" r:id="rId12"/>
    <p:sldLayoutId id="2147485377" r:id="rId13"/>
    <p:sldLayoutId id="2147485378" r:id="rId14"/>
    <p:sldLayoutId id="2147485379" r:id="rId15"/>
    <p:sldLayoutId id="2147485380" r:id="rId16"/>
    <p:sldLayoutId id="2147485381" r:id="rId17"/>
    <p:sldLayoutId id="2147485382" r:id="rId18"/>
    <p:sldLayoutId id="2147485383" r:id="rId19"/>
    <p:sldLayoutId id="2147485384" r:id="rId20"/>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7"/>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19342993"/>
      </p:ext>
    </p:extLst>
  </p:cSld>
  <p:clrMap bg1="lt1" tx1="dk1" bg2="lt2" tx2="dk2" accent1="accent1" accent2="accent2" accent3="accent3" accent4="accent4" accent5="accent5" accent6="accent6" hlink="hlink" folHlink="folHlink"/>
  <p:sldLayoutIdLst>
    <p:sldLayoutId id="2147484984" r:id="rId1"/>
    <p:sldLayoutId id="2147484986" r:id="rId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2.xml"/><Relationship Id="rId7" Type="http://schemas.openxmlformats.org/officeDocument/2006/relationships/image" Target="../media/image11.png"/><Relationship Id="rId2" Type="http://schemas.openxmlformats.org/officeDocument/2006/relationships/slideLayout" Target="../slideLayouts/slideLayout21.xml"/><Relationship Id="rId1" Type="http://schemas.openxmlformats.org/officeDocument/2006/relationships/tags" Target="../tags/tag4.xml"/><Relationship Id="rId6" Type="http://schemas.openxmlformats.org/officeDocument/2006/relationships/image" Target="../media/image10.jp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slideLayout" Target="../slideLayouts/slideLayout10.xml"/><Relationship Id="rId7" Type="http://schemas.openxmlformats.org/officeDocument/2006/relationships/diagramQuickStyle" Target="../diagrams/quickStyle6.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diagramLayout" Target="../diagrams/layout6.xml"/><Relationship Id="rId5" Type="http://schemas.openxmlformats.org/officeDocument/2006/relationships/diagramData" Target="../diagrams/data6.xml"/><Relationship Id="rId10" Type="http://schemas.openxmlformats.org/officeDocument/2006/relationships/image" Target="../media/image36.png"/><Relationship Id="rId4" Type="http://schemas.openxmlformats.org/officeDocument/2006/relationships/notesSlide" Target="../notesSlides/notesSlide6.xml"/><Relationship Id="rId9" Type="http://schemas.microsoft.com/office/2007/relationships/diagramDrawing" Target="../diagrams/drawing6.xml"/></Relationships>
</file>

<file path=ppt/slides/_rels/slide9.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7.xml"/><Relationship Id="rId7" Type="http://schemas.openxmlformats.org/officeDocument/2006/relationships/diagramColors" Target="../diagrams/colors7.xml"/><Relationship Id="rId2" Type="http://schemas.openxmlformats.org/officeDocument/2006/relationships/slideLayout" Target="../slideLayouts/slideLayout11.xml"/><Relationship Id="rId1" Type="http://schemas.openxmlformats.org/officeDocument/2006/relationships/tags" Target="../tags/tag8.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96114" y="3165556"/>
            <a:ext cx="5199473" cy="1329595"/>
          </a:xfrm>
        </p:spPr>
        <p:txBody>
          <a:bodyPr/>
          <a:lstStyle/>
          <a:p>
            <a:r>
              <a:rPr lang="en-US" dirty="0"/>
              <a:t>Overview of </a:t>
            </a:r>
            <a:br>
              <a:rPr lang="en-US" dirty="0"/>
            </a:br>
            <a:r>
              <a:rPr lang="en-US" dirty="0"/>
              <a:t>Always Encrypted</a:t>
            </a:r>
            <a:br>
              <a:rPr lang="en-US" dirty="0"/>
            </a:br>
            <a:endParaRPr lang="en-US" dirty="0"/>
          </a:p>
        </p:txBody>
      </p:sp>
      <p:sp>
        <p:nvSpPr>
          <p:cNvPr id="3" name="Title 1">
            <a:extLst>
              <a:ext uri="{FF2B5EF4-FFF2-40B4-BE49-F238E27FC236}">
                <a16:creationId xmlns:a16="http://schemas.microsoft.com/office/drawing/2014/main" id="{12FF1984-1622-4090-B657-5545BFED10A4}"/>
              </a:ext>
            </a:extLst>
          </p:cNvPr>
          <p:cNvSpPr txBox="1">
            <a:spLocks/>
          </p:cNvSpPr>
          <p:nvPr/>
        </p:nvSpPr>
        <p:spPr>
          <a:xfrm>
            <a:off x="496113" y="5210574"/>
            <a:ext cx="5199473" cy="886397"/>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dirty="0"/>
              <a:t>John Deardurff</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6410" y="320481"/>
            <a:ext cx="10879182" cy="461600"/>
          </a:xfrm>
        </p:spPr>
        <p:txBody>
          <a:bodyPr wrap="square" anchor="t">
            <a:normAutofit/>
          </a:bodyPr>
          <a:lstStyle/>
          <a:p>
            <a:r>
              <a:rPr lang="en-US" dirty="0"/>
              <a:t>Column Keys</a:t>
            </a:r>
          </a:p>
        </p:txBody>
      </p:sp>
      <p:graphicFrame>
        <p:nvGraphicFramePr>
          <p:cNvPr id="5" name="Content Placeholder 4">
            <a:extLst>
              <a:ext uri="{FF2B5EF4-FFF2-40B4-BE49-F238E27FC236}">
                <a16:creationId xmlns:a16="http://schemas.microsoft.com/office/drawing/2014/main" id="{EFA5BE1C-6C01-4F05-A178-1E2AC6710B94}"/>
              </a:ext>
            </a:extLst>
          </p:cNvPr>
          <p:cNvGraphicFramePr>
            <a:graphicFrameLocks noGrp="1"/>
          </p:cNvGraphicFramePr>
          <p:nvPr>
            <p:ph sz="quarter" idx="13"/>
          </p:nvPr>
        </p:nvGraphicFramePr>
        <p:xfrm>
          <a:off x="656410" y="1408401"/>
          <a:ext cx="10879183" cy="48189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822402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provisioning</a:t>
            </a:r>
          </a:p>
        </p:txBody>
      </p:sp>
      <p:graphicFrame>
        <p:nvGraphicFramePr>
          <p:cNvPr id="4" name="Content Placeholder 3">
            <a:extLst>
              <a:ext uri="{FF2B5EF4-FFF2-40B4-BE49-F238E27FC236}">
                <a16:creationId xmlns:a16="http://schemas.microsoft.com/office/drawing/2014/main" id="{61BBC54F-532F-4466-82C5-A5CEE644A7DB}"/>
              </a:ext>
            </a:extLst>
          </p:cNvPr>
          <p:cNvGraphicFramePr>
            <a:graphicFrameLocks noGrp="1"/>
          </p:cNvGraphicFramePr>
          <p:nvPr>
            <p:ph sz="quarter" idx="13"/>
          </p:nvPr>
        </p:nvGraphicFramePr>
        <p:xfrm>
          <a:off x="656410" y="1408401"/>
          <a:ext cx="10879183" cy="48189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5" name="Rectangle 54">
            <a:extLst>
              <a:ext uri="{FF2B5EF4-FFF2-40B4-BE49-F238E27FC236}">
                <a16:creationId xmlns:a16="http://schemas.microsoft.com/office/drawing/2014/main" id="{4D08764F-54D0-4BA9-9D5B-5930F3D25B6C}"/>
              </a:ext>
            </a:extLst>
          </p:cNvPr>
          <p:cNvSpPr/>
          <p:nvPr/>
        </p:nvSpPr>
        <p:spPr>
          <a:xfrm>
            <a:off x="10645023" y="1407214"/>
            <a:ext cx="1280664" cy="816069"/>
          </a:xfrm>
          <a:prstGeom prst="rect">
            <a:avLst/>
          </a:prstGeom>
        </p:spPr>
        <p:txBody>
          <a:bodyPr wrap="square">
            <a:spAutoFit/>
          </a:bodyPr>
          <a:lstStyle/>
          <a:p>
            <a:r>
              <a:rPr lang="en-US" sz="1537" dirty="0">
                <a:solidFill>
                  <a:schemeClr val="bg1"/>
                </a:solidFill>
              </a:rPr>
              <a:t>Column</a:t>
            </a:r>
          </a:p>
          <a:p>
            <a:r>
              <a:rPr lang="en-US" sz="1537" dirty="0">
                <a:solidFill>
                  <a:schemeClr val="bg1"/>
                </a:solidFill>
              </a:rPr>
              <a:t>master key</a:t>
            </a:r>
          </a:p>
          <a:p>
            <a:r>
              <a:rPr lang="en-US" sz="1537" dirty="0">
                <a:solidFill>
                  <a:schemeClr val="bg1"/>
                </a:solidFill>
              </a:rPr>
              <a:t>(CMK)</a:t>
            </a:r>
          </a:p>
        </p:txBody>
      </p:sp>
    </p:spTree>
    <p:extLst>
      <p:ext uri="{BB962C8B-B14F-4D97-AF65-F5344CB8AC3E}">
        <p14:creationId xmlns:p14="http://schemas.microsoft.com/office/powerpoint/2010/main" val="410869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658805" y="216812"/>
            <a:ext cx="11280580" cy="899537"/>
          </a:xfrm>
        </p:spPr>
        <p:txBody>
          <a:bodyPr/>
          <a:lstStyle/>
          <a:p>
            <a:r>
              <a:rPr lang="en-US" dirty="0"/>
              <a:t>Encryption Types</a:t>
            </a:r>
          </a:p>
        </p:txBody>
      </p:sp>
      <p:graphicFrame>
        <p:nvGraphicFramePr>
          <p:cNvPr id="3" name="Diagram 2">
            <a:extLst>
              <a:ext uri="{FF2B5EF4-FFF2-40B4-BE49-F238E27FC236}">
                <a16:creationId xmlns:a16="http://schemas.microsoft.com/office/drawing/2014/main" id="{58D44889-E961-421D-B2D2-7507D3C93F3D}"/>
              </a:ext>
            </a:extLst>
          </p:cNvPr>
          <p:cNvGraphicFramePr/>
          <p:nvPr>
            <p:extLst>
              <p:ext uri="{D42A27DB-BD31-4B8C-83A1-F6EECF244321}">
                <p14:modId xmlns:p14="http://schemas.microsoft.com/office/powerpoint/2010/main" val="1666112731"/>
              </p:ext>
            </p:extLst>
          </p:nvPr>
        </p:nvGraphicFramePr>
        <p:xfrm>
          <a:off x="658805" y="1116349"/>
          <a:ext cx="10937450" cy="46405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4662186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4"/>
                </a:solidFill>
              </a:rPr>
              <a:t>Encryption Methodologies </a:t>
            </a:r>
            <a:endParaRPr lang="en-US" sz="3920" dirty="0">
              <a:solidFill>
                <a:schemeClr val="accent4"/>
              </a:solidFill>
            </a:endParaRPr>
          </a:p>
        </p:txBody>
      </p:sp>
      <p:graphicFrame>
        <p:nvGraphicFramePr>
          <p:cNvPr id="8" name="Diagram 7">
            <a:extLst>
              <a:ext uri="{FF2B5EF4-FFF2-40B4-BE49-F238E27FC236}">
                <a16:creationId xmlns:a16="http://schemas.microsoft.com/office/drawing/2014/main" id="{F266A50C-034A-4EC2-9EFA-E286D53C1A6D}"/>
              </a:ext>
            </a:extLst>
          </p:cNvPr>
          <p:cNvGraphicFramePr/>
          <p:nvPr>
            <p:extLst>
              <p:ext uri="{D42A27DB-BD31-4B8C-83A1-F6EECF244321}">
                <p14:modId xmlns:p14="http://schemas.microsoft.com/office/powerpoint/2010/main" val="2303864608"/>
              </p:ext>
            </p:extLst>
          </p:nvPr>
        </p:nvGraphicFramePr>
        <p:xfrm>
          <a:off x="184174" y="1164867"/>
          <a:ext cx="11352190" cy="48545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897754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6410" y="320481"/>
            <a:ext cx="10879182" cy="461600"/>
          </a:xfrm>
        </p:spPr>
        <p:txBody>
          <a:bodyPr wrap="square" anchor="t">
            <a:normAutofit/>
          </a:bodyPr>
          <a:lstStyle/>
          <a:p>
            <a:r>
              <a:rPr lang="en-US"/>
              <a:t>Data Encryption Algorithm</a:t>
            </a:r>
          </a:p>
        </p:txBody>
      </p:sp>
      <p:graphicFrame>
        <p:nvGraphicFramePr>
          <p:cNvPr id="5" name="Content Placeholder 2">
            <a:extLst>
              <a:ext uri="{FF2B5EF4-FFF2-40B4-BE49-F238E27FC236}">
                <a16:creationId xmlns:a16="http://schemas.microsoft.com/office/drawing/2014/main" id="{BBEBC992-3694-409C-87E6-03D489B78540}"/>
              </a:ext>
            </a:extLst>
          </p:cNvPr>
          <p:cNvGraphicFramePr>
            <a:graphicFrameLocks noGrp="1"/>
          </p:cNvGraphicFramePr>
          <p:nvPr>
            <p:ph sz="quarter" idx="13"/>
          </p:nvPr>
        </p:nvGraphicFramePr>
        <p:xfrm>
          <a:off x="656410" y="1408401"/>
          <a:ext cx="10879183" cy="48189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445404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548145B-F9B6-425C-BC29-9B2E87F44330}"/>
              </a:ext>
            </a:extLst>
          </p:cNvPr>
          <p:cNvSpPr>
            <a:spLocks noGrp="1"/>
          </p:cNvSpPr>
          <p:nvPr>
            <p:ph type="title"/>
          </p:nvPr>
        </p:nvSpPr>
        <p:spPr>
          <a:xfrm>
            <a:off x="655639" y="320481"/>
            <a:ext cx="10880725" cy="461600"/>
          </a:xfrm>
        </p:spPr>
        <p:txBody>
          <a:bodyPr/>
          <a:lstStyle/>
          <a:p>
            <a:r>
              <a:rPr lang="en-US" dirty="0"/>
              <a:t>Always Encrypted with Secure Enclaves</a:t>
            </a:r>
          </a:p>
        </p:txBody>
      </p:sp>
      <p:pic>
        <p:nvPicPr>
          <p:cNvPr id="7" name="Content Placeholder 6" descr="A screenshot of a video game&#10;&#10;Description automatically generated">
            <a:extLst>
              <a:ext uri="{FF2B5EF4-FFF2-40B4-BE49-F238E27FC236}">
                <a16:creationId xmlns:a16="http://schemas.microsoft.com/office/drawing/2014/main" id="{20355EF5-9D9B-40F8-BBE6-EF04CB73CE71}"/>
              </a:ext>
            </a:extLst>
          </p:cNvPr>
          <p:cNvPicPr>
            <a:picLocks noGrp="1" noChangeAspect="1"/>
          </p:cNvPicPr>
          <p:nvPr>
            <p:ph sz="quarter" idx="13"/>
          </p:nvPr>
        </p:nvPicPr>
        <p:blipFill>
          <a:blip r:embed="rId3"/>
          <a:stretch>
            <a:fillRect/>
          </a:stretch>
        </p:blipFill>
        <p:spPr>
          <a:xfrm>
            <a:off x="792153" y="2233767"/>
            <a:ext cx="10881601" cy="3482114"/>
          </a:xfrm>
          <a:noFill/>
        </p:spPr>
      </p:pic>
    </p:spTree>
    <p:extLst>
      <p:ext uri="{BB962C8B-B14F-4D97-AF65-F5344CB8AC3E}">
        <p14:creationId xmlns:p14="http://schemas.microsoft.com/office/powerpoint/2010/main" val="8362555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2EF0B9-41BA-4837-8D8F-D9BF0D129CDF}"/>
              </a:ext>
            </a:extLst>
          </p:cNvPr>
          <p:cNvSpPr>
            <a:spLocks noGrp="1"/>
          </p:cNvSpPr>
          <p:nvPr>
            <p:ph type="body" sz="quarter" idx="10"/>
          </p:nvPr>
        </p:nvSpPr>
        <p:spPr>
          <a:xfrm>
            <a:off x="271558" y="2324682"/>
            <a:ext cx="11653523" cy="1737912"/>
          </a:xfrm>
        </p:spPr>
        <p:txBody>
          <a:bodyPr/>
          <a:lstStyle/>
          <a:p>
            <a:r>
              <a:rPr lang="en-US" sz="3137" dirty="0">
                <a:solidFill>
                  <a:srgbClr val="008000"/>
                </a:solidFill>
                <a:latin typeface="Consolas" panose="020B0609020204030204" pitchFamily="49" charset="0"/>
              </a:rPr>
              <a:t>--Always </a:t>
            </a:r>
            <a:r>
              <a:rPr lang="en-US" sz="3137" dirty="0" err="1">
                <a:solidFill>
                  <a:srgbClr val="008000"/>
                </a:solidFill>
                <a:latin typeface="Consolas" panose="020B0609020204030204" pitchFamily="49" charset="0"/>
              </a:rPr>
              <a:t>Encypted</a:t>
            </a:r>
            <a:r>
              <a:rPr lang="en-US" sz="3137" dirty="0">
                <a:solidFill>
                  <a:srgbClr val="008000"/>
                </a:solidFill>
                <a:latin typeface="Consolas" panose="020B0609020204030204" pitchFamily="49" charset="0"/>
              </a:rPr>
              <a:t> catalog views</a:t>
            </a:r>
            <a:endParaRPr lang="en-US" sz="3137" dirty="0">
              <a:latin typeface="Consolas" panose="020B0609020204030204" pitchFamily="49" charset="0"/>
            </a:endParaRPr>
          </a:p>
          <a:p>
            <a:r>
              <a:rPr lang="en-US" sz="3137" dirty="0">
                <a:solidFill>
                  <a:srgbClr val="0000FF"/>
                </a:solidFill>
                <a:latin typeface="Consolas" panose="020B0609020204030204" pitchFamily="49" charset="0"/>
              </a:rPr>
              <a:t>SELECT</a:t>
            </a:r>
            <a:r>
              <a:rPr lang="en-US" sz="3137" dirty="0">
                <a:latin typeface="Consolas" panose="020B0609020204030204" pitchFamily="49" charset="0"/>
              </a:rPr>
              <a:t> </a:t>
            </a:r>
            <a:r>
              <a:rPr lang="en-US" sz="3137" dirty="0">
                <a:solidFill>
                  <a:srgbClr val="808080"/>
                </a:solidFill>
                <a:latin typeface="Consolas" panose="020B0609020204030204" pitchFamily="49" charset="0"/>
              </a:rPr>
              <a:t>*</a:t>
            </a:r>
            <a:r>
              <a:rPr lang="en-US" sz="3137" dirty="0">
                <a:latin typeface="Consolas" panose="020B0609020204030204" pitchFamily="49" charset="0"/>
              </a:rPr>
              <a:t> </a:t>
            </a:r>
            <a:r>
              <a:rPr lang="en-US" sz="3137" dirty="0">
                <a:solidFill>
                  <a:srgbClr val="0000FF"/>
                </a:solidFill>
                <a:latin typeface="Consolas" panose="020B0609020204030204" pitchFamily="49" charset="0"/>
              </a:rPr>
              <a:t>FROM</a:t>
            </a:r>
            <a:r>
              <a:rPr lang="en-US" sz="3137" dirty="0">
                <a:latin typeface="Consolas" panose="020B0609020204030204" pitchFamily="49" charset="0"/>
              </a:rPr>
              <a:t> </a:t>
            </a:r>
            <a:r>
              <a:rPr lang="en-US" sz="3137" dirty="0" err="1">
                <a:solidFill>
                  <a:schemeClr val="accent3">
                    <a:lumMod val="75000"/>
                  </a:schemeClr>
                </a:solidFill>
                <a:latin typeface="Consolas" panose="020B0609020204030204" pitchFamily="49" charset="0"/>
              </a:rPr>
              <a:t>sys.column_master_keys</a:t>
            </a:r>
            <a:endParaRPr lang="en-US" sz="3137" dirty="0">
              <a:solidFill>
                <a:schemeClr val="accent3">
                  <a:lumMod val="75000"/>
                </a:schemeClr>
              </a:solidFill>
              <a:latin typeface="Consolas" panose="020B0609020204030204" pitchFamily="49" charset="0"/>
            </a:endParaRPr>
          </a:p>
          <a:p>
            <a:r>
              <a:rPr lang="en-US" sz="3137" dirty="0">
                <a:solidFill>
                  <a:srgbClr val="0000FF"/>
                </a:solidFill>
                <a:latin typeface="Consolas" panose="020B0609020204030204" pitchFamily="49" charset="0"/>
              </a:rPr>
              <a:t>SELECT</a:t>
            </a:r>
            <a:r>
              <a:rPr lang="en-US" sz="3137" dirty="0">
                <a:latin typeface="Consolas" panose="020B0609020204030204" pitchFamily="49" charset="0"/>
              </a:rPr>
              <a:t> </a:t>
            </a:r>
            <a:r>
              <a:rPr lang="en-US" sz="3137" dirty="0">
                <a:solidFill>
                  <a:srgbClr val="808080"/>
                </a:solidFill>
                <a:latin typeface="Consolas" panose="020B0609020204030204" pitchFamily="49" charset="0"/>
              </a:rPr>
              <a:t>*</a:t>
            </a:r>
            <a:r>
              <a:rPr lang="en-US" sz="3137" dirty="0">
                <a:latin typeface="Consolas" panose="020B0609020204030204" pitchFamily="49" charset="0"/>
              </a:rPr>
              <a:t> </a:t>
            </a:r>
            <a:r>
              <a:rPr lang="en-US" sz="3137" dirty="0">
                <a:solidFill>
                  <a:srgbClr val="0000FF"/>
                </a:solidFill>
                <a:latin typeface="Consolas" panose="020B0609020204030204" pitchFamily="49" charset="0"/>
              </a:rPr>
              <a:t>FROM</a:t>
            </a:r>
            <a:r>
              <a:rPr lang="en-US" sz="3137" dirty="0">
                <a:latin typeface="Consolas" panose="020B0609020204030204" pitchFamily="49" charset="0"/>
              </a:rPr>
              <a:t> </a:t>
            </a:r>
            <a:r>
              <a:rPr lang="en-US" sz="3137" dirty="0" err="1">
                <a:solidFill>
                  <a:schemeClr val="accent3">
                    <a:lumMod val="75000"/>
                  </a:schemeClr>
                </a:solidFill>
                <a:latin typeface="Consolas" panose="020B0609020204030204" pitchFamily="49" charset="0"/>
              </a:rPr>
              <a:t>sys.column_encryption_keys</a:t>
            </a:r>
            <a:endParaRPr lang="en-US" sz="3137" dirty="0">
              <a:solidFill>
                <a:schemeClr val="accent3">
                  <a:lumMod val="75000"/>
                </a:schemeClr>
              </a:solidFill>
              <a:latin typeface="Consolas" panose="020B0609020204030204" pitchFamily="49" charset="0"/>
            </a:endParaRPr>
          </a:p>
          <a:p>
            <a:r>
              <a:rPr lang="en-US" sz="3137" dirty="0">
                <a:solidFill>
                  <a:srgbClr val="0000FF"/>
                </a:solidFill>
                <a:latin typeface="Consolas" panose="020B0609020204030204" pitchFamily="49" charset="0"/>
              </a:rPr>
              <a:t>SELECT</a:t>
            </a:r>
            <a:r>
              <a:rPr lang="en-US" sz="3137" dirty="0">
                <a:latin typeface="Consolas" panose="020B0609020204030204" pitchFamily="49" charset="0"/>
              </a:rPr>
              <a:t> </a:t>
            </a:r>
            <a:r>
              <a:rPr lang="en-US" sz="3137" dirty="0">
                <a:solidFill>
                  <a:srgbClr val="808080"/>
                </a:solidFill>
                <a:latin typeface="Consolas" panose="020B0609020204030204" pitchFamily="49" charset="0"/>
              </a:rPr>
              <a:t>*</a:t>
            </a:r>
            <a:r>
              <a:rPr lang="en-US" sz="3137" dirty="0">
                <a:latin typeface="Consolas" panose="020B0609020204030204" pitchFamily="49" charset="0"/>
              </a:rPr>
              <a:t> </a:t>
            </a:r>
            <a:r>
              <a:rPr lang="en-US" sz="3137" dirty="0">
                <a:solidFill>
                  <a:srgbClr val="0000FF"/>
                </a:solidFill>
                <a:latin typeface="Consolas" panose="020B0609020204030204" pitchFamily="49" charset="0"/>
              </a:rPr>
              <a:t>FROM</a:t>
            </a:r>
            <a:r>
              <a:rPr lang="en-US" sz="3137" dirty="0">
                <a:latin typeface="Consolas" panose="020B0609020204030204" pitchFamily="49" charset="0"/>
              </a:rPr>
              <a:t> </a:t>
            </a:r>
            <a:r>
              <a:rPr lang="en-US" sz="3137" dirty="0" err="1">
                <a:solidFill>
                  <a:schemeClr val="accent3">
                    <a:lumMod val="75000"/>
                  </a:schemeClr>
                </a:solidFill>
                <a:latin typeface="Consolas" panose="020B0609020204030204" pitchFamily="49" charset="0"/>
              </a:rPr>
              <a:t>sys.column_encryption_key_values</a:t>
            </a:r>
            <a:endParaRPr lang="en-US" sz="3137" dirty="0">
              <a:solidFill>
                <a:schemeClr val="accent3">
                  <a:lumMod val="75000"/>
                </a:schemeClr>
              </a:solidFill>
            </a:endParaRPr>
          </a:p>
        </p:txBody>
      </p:sp>
      <p:sp>
        <p:nvSpPr>
          <p:cNvPr id="3" name="Title 2">
            <a:extLst>
              <a:ext uri="{FF2B5EF4-FFF2-40B4-BE49-F238E27FC236}">
                <a16:creationId xmlns:a16="http://schemas.microsoft.com/office/drawing/2014/main" id="{2E3F008A-2891-459F-9192-5121BCC518B2}"/>
              </a:ext>
            </a:extLst>
          </p:cNvPr>
          <p:cNvSpPr>
            <a:spLocks noGrp="1"/>
          </p:cNvSpPr>
          <p:nvPr>
            <p:ph type="title"/>
          </p:nvPr>
        </p:nvSpPr>
        <p:spPr/>
        <p:txBody>
          <a:bodyPr/>
          <a:lstStyle/>
          <a:p>
            <a:r>
              <a:rPr lang="en-US" dirty="0"/>
              <a:t>Always Encrypted Catalog Views</a:t>
            </a:r>
          </a:p>
        </p:txBody>
      </p:sp>
    </p:spTree>
    <p:extLst>
      <p:ext uri="{BB962C8B-B14F-4D97-AF65-F5344CB8AC3E}">
        <p14:creationId xmlns:p14="http://schemas.microsoft.com/office/powerpoint/2010/main" val="38557969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2D08D2-E692-4A66-AD25-F3298E22E930}"/>
              </a:ext>
            </a:extLst>
          </p:cNvPr>
          <p:cNvSpPr>
            <a:spLocks noGrp="1"/>
          </p:cNvSpPr>
          <p:nvPr>
            <p:ph type="body" sz="quarter" idx="10"/>
          </p:nvPr>
        </p:nvSpPr>
        <p:spPr>
          <a:xfrm>
            <a:off x="568047" y="1710853"/>
            <a:ext cx="11354716" cy="3421514"/>
          </a:xfrm>
        </p:spPr>
        <p:txBody>
          <a:bodyPr/>
          <a:lstStyle/>
          <a:p>
            <a:r>
              <a:rPr lang="en-US" sz="2745" dirty="0">
                <a:solidFill>
                  <a:srgbClr val="008000"/>
                </a:solidFill>
                <a:latin typeface="Consolas" panose="020B0609020204030204" pitchFamily="49" charset="0"/>
              </a:rPr>
              <a:t>--Find columns protected by Always Encrypted</a:t>
            </a:r>
            <a:endParaRPr lang="en-US" sz="2745" dirty="0">
              <a:latin typeface="Consolas" panose="020B0609020204030204" pitchFamily="49" charset="0"/>
            </a:endParaRPr>
          </a:p>
          <a:p>
            <a:r>
              <a:rPr lang="en-US" sz="2745" dirty="0">
                <a:solidFill>
                  <a:srgbClr val="0000FF"/>
                </a:solidFill>
                <a:latin typeface="Consolas" panose="020B0609020204030204" pitchFamily="49" charset="0"/>
              </a:rPr>
              <a:t>SELECT</a:t>
            </a:r>
            <a:r>
              <a:rPr lang="en-US" sz="2745" dirty="0">
                <a:latin typeface="Consolas" panose="020B0609020204030204" pitchFamily="49" charset="0"/>
              </a:rPr>
              <a:t> c</a:t>
            </a:r>
            <a:r>
              <a:rPr lang="en-US" sz="2745" dirty="0">
                <a:solidFill>
                  <a:srgbClr val="808080"/>
                </a:solidFill>
                <a:latin typeface="Consolas" panose="020B0609020204030204" pitchFamily="49" charset="0"/>
              </a:rPr>
              <a:t>.</a:t>
            </a:r>
            <a:r>
              <a:rPr lang="en-US" sz="2745" dirty="0">
                <a:solidFill>
                  <a:srgbClr val="0000FF"/>
                </a:solidFill>
                <a:latin typeface="Consolas" panose="020B0609020204030204" pitchFamily="49" charset="0"/>
              </a:rPr>
              <a:t>name</a:t>
            </a:r>
            <a:r>
              <a:rPr lang="en-US" sz="2745" dirty="0">
                <a:latin typeface="Consolas" panose="020B0609020204030204" pitchFamily="49" charset="0"/>
              </a:rPr>
              <a:t> </a:t>
            </a:r>
            <a:r>
              <a:rPr lang="en-US" sz="2745" dirty="0">
                <a:solidFill>
                  <a:srgbClr val="0000FF"/>
                </a:solidFill>
                <a:latin typeface="Consolas" panose="020B0609020204030204" pitchFamily="49" charset="0"/>
              </a:rPr>
              <a:t>as</a:t>
            </a:r>
            <a:r>
              <a:rPr lang="en-US" sz="2745" dirty="0">
                <a:latin typeface="Consolas" panose="020B0609020204030204" pitchFamily="49" charset="0"/>
              </a:rPr>
              <a:t> </a:t>
            </a:r>
            <a:r>
              <a:rPr lang="en-US" sz="2745" dirty="0" err="1">
                <a:latin typeface="Consolas" panose="020B0609020204030204" pitchFamily="49" charset="0"/>
              </a:rPr>
              <a:t>E_Column</a:t>
            </a:r>
            <a:r>
              <a:rPr lang="en-US" sz="2745" dirty="0">
                <a:solidFill>
                  <a:srgbClr val="808080"/>
                </a:solidFill>
                <a:latin typeface="Consolas" panose="020B0609020204030204" pitchFamily="49" charset="0"/>
              </a:rPr>
              <a:t>,</a:t>
            </a:r>
            <a:r>
              <a:rPr lang="en-US" sz="2745" dirty="0">
                <a:latin typeface="Consolas" panose="020B0609020204030204" pitchFamily="49" charset="0"/>
              </a:rPr>
              <a:t> </a:t>
            </a:r>
            <a:r>
              <a:rPr lang="en-US" sz="2745" dirty="0" err="1">
                <a:latin typeface="Consolas" panose="020B0609020204030204" pitchFamily="49" charset="0"/>
              </a:rPr>
              <a:t>c</a:t>
            </a:r>
            <a:r>
              <a:rPr lang="en-US" sz="2745" dirty="0" err="1">
                <a:solidFill>
                  <a:srgbClr val="808080"/>
                </a:solidFill>
                <a:latin typeface="Consolas" panose="020B0609020204030204" pitchFamily="49" charset="0"/>
              </a:rPr>
              <a:t>.</a:t>
            </a:r>
            <a:r>
              <a:rPr lang="en-US" sz="2745" dirty="0" err="1">
                <a:latin typeface="Consolas" panose="020B0609020204030204" pitchFamily="49" charset="0"/>
              </a:rPr>
              <a:t>column_encryption_key_id</a:t>
            </a:r>
            <a:r>
              <a:rPr lang="en-US" sz="2745" dirty="0">
                <a:solidFill>
                  <a:srgbClr val="808080"/>
                </a:solidFill>
                <a:latin typeface="Consolas" panose="020B0609020204030204" pitchFamily="49" charset="0"/>
              </a:rPr>
              <a:t>,</a:t>
            </a:r>
            <a:endParaRPr lang="en-US" sz="2745" dirty="0">
              <a:latin typeface="Consolas" panose="020B0609020204030204" pitchFamily="49" charset="0"/>
            </a:endParaRPr>
          </a:p>
          <a:p>
            <a:r>
              <a:rPr lang="en-US" sz="2745" dirty="0">
                <a:latin typeface="Consolas" panose="020B0609020204030204" pitchFamily="49" charset="0"/>
              </a:rPr>
              <a:t>   cek</a:t>
            </a:r>
            <a:r>
              <a:rPr lang="en-US" sz="2745" dirty="0">
                <a:solidFill>
                  <a:srgbClr val="808080"/>
                </a:solidFill>
                <a:latin typeface="Consolas" panose="020B0609020204030204" pitchFamily="49" charset="0"/>
              </a:rPr>
              <a:t>.</a:t>
            </a:r>
            <a:r>
              <a:rPr lang="en-US" sz="2745" dirty="0">
                <a:solidFill>
                  <a:srgbClr val="0000FF"/>
                </a:solidFill>
                <a:latin typeface="Consolas" panose="020B0609020204030204" pitchFamily="49" charset="0"/>
              </a:rPr>
              <a:t>name</a:t>
            </a:r>
            <a:r>
              <a:rPr lang="en-US" sz="2745" dirty="0">
                <a:latin typeface="Consolas" panose="020B0609020204030204" pitchFamily="49" charset="0"/>
              </a:rPr>
              <a:t> </a:t>
            </a:r>
            <a:r>
              <a:rPr lang="en-US" sz="2745" dirty="0">
                <a:solidFill>
                  <a:srgbClr val="0000FF"/>
                </a:solidFill>
                <a:latin typeface="Consolas" panose="020B0609020204030204" pitchFamily="49" charset="0"/>
              </a:rPr>
              <a:t>as</a:t>
            </a:r>
            <a:r>
              <a:rPr lang="en-US" sz="2745" dirty="0">
                <a:latin typeface="Consolas" panose="020B0609020204030204" pitchFamily="49" charset="0"/>
              </a:rPr>
              <a:t> </a:t>
            </a:r>
            <a:r>
              <a:rPr lang="en-US" sz="2745" dirty="0" err="1">
                <a:latin typeface="Consolas" panose="020B0609020204030204" pitchFamily="49" charset="0"/>
              </a:rPr>
              <a:t>E_Key</a:t>
            </a:r>
            <a:r>
              <a:rPr lang="en-US" sz="2745" dirty="0">
                <a:solidFill>
                  <a:srgbClr val="808080"/>
                </a:solidFill>
                <a:latin typeface="Consolas" panose="020B0609020204030204" pitchFamily="49" charset="0"/>
              </a:rPr>
              <a:t>,</a:t>
            </a:r>
            <a:r>
              <a:rPr lang="en-US" sz="2745" dirty="0">
                <a:latin typeface="Consolas" panose="020B0609020204030204" pitchFamily="49" charset="0"/>
              </a:rPr>
              <a:t> </a:t>
            </a:r>
            <a:r>
              <a:rPr lang="en-US" sz="2745" dirty="0" err="1">
                <a:latin typeface="Consolas" panose="020B0609020204030204" pitchFamily="49" charset="0"/>
              </a:rPr>
              <a:t>encryption_type_desc</a:t>
            </a:r>
            <a:r>
              <a:rPr lang="en-US" sz="2745" dirty="0">
                <a:solidFill>
                  <a:srgbClr val="808080"/>
                </a:solidFill>
                <a:latin typeface="Consolas" panose="020B0609020204030204" pitchFamily="49" charset="0"/>
              </a:rPr>
              <a:t>,</a:t>
            </a:r>
            <a:endParaRPr lang="en-US" sz="2745" dirty="0">
              <a:latin typeface="Consolas" panose="020B0609020204030204" pitchFamily="49" charset="0"/>
            </a:endParaRPr>
          </a:p>
          <a:p>
            <a:r>
              <a:rPr lang="en-US" sz="2745" dirty="0">
                <a:latin typeface="Consolas" panose="020B0609020204030204" pitchFamily="49" charset="0"/>
              </a:rPr>
              <a:t>   </a:t>
            </a:r>
            <a:r>
              <a:rPr lang="en-US" sz="2745" dirty="0" err="1">
                <a:latin typeface="Consolas" panose="020B0609020204030204" pitchFamily="49" charset="0"/>
              </a:rPr>
              <a:t>encryption_algorithm_name</a:t>
            </a:r>
            <a:endParaRPr lang="en-US" sz="2745" dirty="0">
              <a:latin typeface="Consolas" panose="020B0609020204030204" pitchFamily="49" charset="0"/>
            </a:endParaRPr>
          </a:p>
          <a:p>
            <a:r>
              <a:rPr lang="en-US" sz="2745" dirty="0">
                <a:solidFill>
                  <a:srgbClr val="0000FF"/>
                </a:solidFill>
                <a:latin typeface="Consolas" panose="020B0609020204030204" pitchFamily="49" charset="0"/>
              </a:rPr>
              <a:t>FROM</a:t>
            </a:r>
            <a:r>
              <a:rPr lang="en-US" sz="2745" dirty="0">
                <a:latin typeface="Consolas" panose="020B0609020204030204" pitchFamily="49" charset="0"/>
              </a:rPr>
              <a:t> </a:t>
            </a:r>
            <a:r>
              <a:rPr lang="en-US" sz="2745" dirty="0" err="1">
                <a:solidFill>
                  <a:schemeClr val="accent3">
                    <a:lumMod val="75000"/>
                  </a:schemeClr>
                </a:solidFill>
                <a:latin typeface="Consolas" panose="020B0609020204030204" pitchFamily="49" charset="0"/>
              </a:rPr>
              <a:t>sys.columns</a:t>
            </a:r>
            <a:r>
              <a:rPr lang="en-US" sz="2745" dirty="0">
                <a:solidFill>
                  <a:schemeClr val="accent3">
                    <a:lumMod val="75000"/>
                  </a:schemeClr>
                </a:solidFill>
                <a:latin typeface="Consolas" panose="020B0609020204030204" pitchFamily="49" charset="0"/>
              </a:rPr>
              <a:t> </a:t>
            </a:r>
            <a:r>
              <a:rPr lang="en-US" sz="2745" dirty="0">
                <a:solidFill>
                  <a:srgbClr val="0000FF"/>
                </a:solidFill>
                <a:latin typeface="Consolas" panose="020B0609020204030204" pitchFamily="49" charset="0"/>
              </a:rPr>
              <a:t>as</a:t>
            </a:r>
            <a:r>
              <a:rPr lang="en-US" sz="2745" dirty="0">
                <a:latin typeface="Consolas" panose="020B0609020204030204" pitchFamily="49" charset="0"/>
              </a:rPr>
              <a:t> c</a:t>
            </a:r>
          </a:p>
          <a:p>
            <a:r>
              <a:rPr lang="en-US" sz="2745" dirty="0">
                <a:solidFill>
                  <a:srgbClr val="808080"/>
                </a:solidFill>
                <a:latin typeface="Consolas" panose="020B0609020204030204" pitchFamily="49" charset="0"/>
              </a:rPr>
              <a:t>JOIN</a:t>
            </a:r>
            <a:r>
              <a:rPr lang="en-US" sz="2745" dirty="0">
                <a:latin typeface="Consolas" panose="020B0609020204030204" pitchFamily="49" charset="0"/>
              </a:rPr>
              <a:t> </a:t>
            </a:r>
            <a:r>
              <a:rPr lang="en-US" sz="2745" dirty="0" err="1">
                <a:solidFill>
                  <a:schemeClr val="accent3">
                    <a:lumMod val="75000"/>
                  </a:schemeClr>
                </a:solidFill>
                <a:latin typeface="Consolas" panose="020B0609020204030204" pitchFamily="49" charset="0"/>
              </a:rPr>
              <a:t>sys.column_encryption_keys</a:t>
            </a:r>
            <a:r>
              <a:rPr lang="en-US" sz="2745" dirty="0">
                <a:solidFill>
                  <a:schemeClr val="accent3">
                    <a:lumMod val="75000"/>
                  </a:schemeClr>
                </a:solidFill>
                <a:latin typeface="Consolas" panose="020B0609020204030204" pitchFamily="49" charset="0"/>
              </a:rPr>
              <a:t> </a:t>
            </a:r>
            <a:r>
              <a:rPr lang="en-US" sz="2745" dirty="0">
                <a:solidFill>
                  <a:srgbClr val="0000FF"/>
                </a:solidFill>
                <a:latin typeface="Consolas" panose="020B0609020204030204" pitchFamily="49" charset="0"/>
              </a:rPr>
              <a:t>as</a:t>
            </a:r>
            <a:r>
              <a:rPr lang="en-US" sz="2745" dirty="0">
                <a:latin typeface="Consolas" panose="020B0609020204030204" pitchFamily="49" charset="0"/>
              </a:rPr>
              <a:t> </a:t>
            </a:r>
            <a:r>
              <a:rPr lang="en-US" sz="2745" dirty="0" err="1">
                <a:latin typeface="Consolas" panose="020B0609020204030204" pitchFamily="49" charset="0"/>
              </a:rPr>
              <a:t>cek</a:t>
            </a:r>
            <a:endParaRPr lang="en-US" sz="2745" dirty="0">
              <a:latin typeface="Consolas" panose="020B0609020204030204" pitchFamily="49" charset="0"/>
            </a:endParaRPr>
          </a:p>
          <a:p>
            <a:r>
              <a:rPr lang="en-US" sz="2745" dirty="0">
                <a:solidFill>
                  <a:srgbClr val="0000FF"/>
                </a:solidFill>
                <a:latin typeface="Consolas" panose="020B0609020204030204" pitchFamily="49" charset="0"/>
              </a:rPr>
              <a:t>ON</a:t>
            </a:r>
            <a:r>
              <a:rPr lang="en-US" sz="2745" dirty="0">
                <a:latin typeface="Consolas" panose="020B0609020204030204" pitchFamily="49" charset="0"/>
              </a:rPr>
              <a:t> </a:t>
            </a:r>
            <a:r>
              <a:rPr lang="en-US" sz="2745" dirty="0" err="1">
                <a:latin typeface="Consolas" panose="020B0609020204030204" pitchFamily="49" charset="0"/>
              </a:rPr>
              <a:t>c</a:t>
            </a:r>
            <a:r>
              <a:rPr lang="en-US" sz="2745" dirty="0" err="1">
                <a:solidFill>
                  <a:srgbClr val="808080"/>
                </a:solidFill>
                <a:latin typeface="Consolas" panose="020B0609020204030204" pitchFamily="49" charset="0"/>
              </a:rPr>
              <a:t>.</a:t>
            </a:r>
            <a:r>
              <a:rPr lang="en-US" sz="2745" dirty="0" err="1">
                <a:latin typeface="Consolas" panose="020B0609020204030204" pitchFamily="49" charset="0"/>
              </a:rPr>
              <a:t>column_encryption_key_id</a:t>
            </a:r>
            <a:r>
              <a:rPr lang="en-US" sz="2745" dirty="0">
                <a:latin typeface="Consolas" panose="020B0609020204030204" pitchFamily="49" charset="0"/>
              </a:rPr>
              <a:t> </a:t>
            </a:r>
            <a:r>
              <a:rPr lang="en-US" sz="2745" dirty="0">
                <a:solidFill>
                  <a:srgbClr val="808080"/>
                </a:solidFill>
                <a:latin typeface="Consolas" panose="020B0609020204030204" pitchFamily="49" charset="0"/>
              </a:rPr>
              <a:t>=</a:t>
            </a:r>
            <a:r>
              <a:rPr lang="en-US" sz="2745" dirty="0">
                <a:latin typeface="Consolas" panose="020B0609020204030204" pitchFamily="49" charset="0"/>
              </a:rPr>
              <a:t> </a:t>
            </a:r>
          </a:p>
          <a:p>
            <a:r>
              <a:rPr lang="en-US" sz="2745" dirty="0">
                <a:latin typeface="Consolas" panose="020B0609020204030204" pitchFamily="49" charset="0"/>
              </a:rPr>
              <a:t>   </a:t>
            </a:r>
            <a:r>
              <a:rPr lang="en-US" sz="2745" dirty="0" err="1">
                <a:latin typeface="Consolas" panose="020B0609020204030204" pitchFamily="49" charset="0"/>
              </a:rPr>
              <a:t>cek</a:t>
            </a:r>
            <a:r>
              <a:rPr lang="en-US" sz="2745" dirty="0" err="1">
                <a:solidFill>
                  <a:srgbClr val="808080"/>
                </a:solidFill>
                <a:latin typeface="Consolas" panose="020B0609020204030204" pitchFamily="49" charset="0"/>
              </a:rPr>
              <a:t>.</a:t>
            </a:r>
            <a:r>
              <a:rPr lang="en-US" sz="2745" dirty="0" err="1">
                <a:latin typeface="Consolas" panose="020B0609020204030204" pitchFamily="49" charset="0"/>
              </a:rPr>
              <a:t>column_encryption_key_id</a:t>
            </a:r>
            <a:endParaRPr lang="en-US" sz="2745" dirty="0">
              <a:latin typeface="Consolas" panose="020B0609020204030204" pitchFamily="49" charset="0"/>
            </a:endParaRPr>
          </a:p>
          <a:p>
            <a:r>
              <a:rPr lang="en-US" sz="2745" dirty="0">
                <a:solidFill>
                  <a:srgbClr val="0000FF"/>
                </a:solidFill>
                <a:latin typeface="Consolas" panose="020B0609020204030204" pitchFamily="49" charset="0"/>
              </a:rPr>
              <a:t>WHERE</a:t>
            </a:r>
            <a:r>
              <a:rPr lang="en-US" sz="2745" dirty="0">
                <a:latin typeface="Consolas" panose="020B0609020204030204" pitchFamily="49" charset="0"/>
              </a:rPr>
              <a:t> </a:t>
            </a:r>
            <a:r>
              <a:rPr lang="en-US" sz="2745" dirty="0" err="1">
                <a:latin typeface="Consolas" panose="020B0609020204030204" pitchFamily="49" charset="0"/>
              </a:rPr>
              <a:t>c</a:t>
            </a:r>
            <a:r>
              <a:rPr lang="en-US" sz="2745" dirty="0" err="1">
                <a:solidFill>
                  <a:srgbClr val="808080"/>
                </a:solidFill>
                <a:latin typeface="Consolas" panose="020B0609020204030204" pitchFamily="49" charset="0"/>
              </a:rPr>
              <a:t>.</a:t>
            </a:r>
            <a:r>
              <a:rPr lang="en-US" sz="2745" dirty="0" err="1">
                <a:latin typeface="Consolas" panose="020B0609020204030204" pitchFamily="49" charset="0"/>
              </a:rPr>
              <a:t>column_encryption_key_id</a:t>
            </a:r>
            <a:r>
              <a:rPr lang="en-US" sz="2745" dirty="0">
                <a:latin typeface="Consolas" panose="020B0609020204030204" pitchFamily="49" charset="0"/>
              </a:rPr>
              <a:t> </a:t>
            </a:r>
            <a:r>
              <a:rPr lang="en-US" sz="2745" dirty="0">
                <a:solidFill>
                  <a:srgbClr val="808080"/>
                </a:solidFill>
                <a:latin typeface="Consolas" panose="020B0609020204030204" pitchFamily="49" charset="0"/>
              </a:rPr>
              <a:t>IS</a:t>
            </a:r>
            <a:r>
              <a:rPr lang="en-US" sz="2745" dirty="0">
                <a:latin typeface="Consolas" panose="020B0609020204030204" pitchFamily="49" charset="0"/>
              </a:rPr>
              <a:t> </a:t>
            </a:r>
            <a:r>
              <a:rPr lang="en-US" sz="2745" dirty="0">
                <a:solidFill>
                  <a:srgbClr val="808080"/>
                </a:solidFill>
                <a:latin typeface="Consolas" panose="020B0609020204030204" pitchFamily="49" charset="0"/>
              </a:rPr>
              <a:t>NOT</a:t>
            </a:r>
            <a:r>
              <a:rPr lang="en-US" sz="2745" dirty="0">
                <a:latin typeface="Consolas" panose="020B0609020204030204" pitchFamily="49" charset="0"/>
              </a:rPr>
              <a:t> </a:t>
            </a:r>
            <a:r>
              <a:rPr lang="en-US" sz="2745" dirty="0">
                <a:solidFill>
                  <a:srgbClr val="808080"/>
                </a:solidFill>
                <a:latin typeface="Consolas" panose="020B0609020204030204" pitchFamily="49" charset="0"/>
              </a:rPr>
              <a:t>NULL</a:t>
            </a:r>
            <a:endParaRPr lang="en-US" sz="2745" dirty="0"/>
          </a:p>
        </p:txBody>
      </p:sp>
      <p:sp>
        <p:nvSpPr>
          <p:cNvPr id="3" name="Title 2">
            <a:extLst>
              <a:ext uri="{FF2B5EF4-FFF2-40B4-BE49-F238E27FC236}">
                <a16:creationId xmlns:a16="http://schemas.microsoft.com/office/drawing/2014/main" id="{B0128151-1BFE-48B1-8691-A68E2AAE6BBE}"/>
              </a:ext>
            </a:extLst>
          </p:cNvPr>
          <p:cNvSpPr>
            <a:spLocks noGrp="1"/>
          </p:cNvSpPr>
          <p:nvPr>
            <p:ph type="title"/>
          </p:nvPr>
        </p:nvSpPr>
        <p:spPr/>
        <p:txBody>
          <a:bodyPr/>
          <a:lstStyle/>
          <a:p>
            <a:r>
              <a:rPr lang="en-US" dirty="0"/>
              <a:t>Find Always Encrypted Columns</a:t>
            </a:r>
          </a:p>
        </p:txBody>
      </p:sp>
    </p:spTree>
    <p:extLst>
      <p:ext uri="{BB962C8B-B14F-4D97-AF65-F5344CB8AC3E}">
        <p14:creationId xmlns:p14="http://schemas.microsoft.com/office/powerpoint/2010/main" val="373856727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B5E555-9C38-4387-A322-4129ADC33CC4}"/>
              </a:ext>
            </a:extLst>
          </p:cNvPr>
          <p:cNvSpPr>
            <a:spLocks noGrp="1"/>
          </p:cNvSpPr>
          <p:nvPr>
            <p:ph type="title"/>
          </p:nvPr>
        </p:nvSpPr>
        <p:spPr/>
        <p:txBody>
          <a:bodyPr/>
          <a:lstStyle/>
          <a:p>
            <a:r>
              <a:rPr lang="en-US" dirty="0"/>
              <a:t>Column Encryption Setting = Enabled</a:t>
            </a:r>
          </a:p>
        </p:txBody>
      </p:sp>
      <p:pic>
        <p:nvPicPr>
          <p:cNvPr id="5" name="Picture 4">
            <a:extLst>
              <a:ext uri="{FF2B5EF4-FFF2-40B4-BE49-F238E27FC236}">
                <a16:creationId xmlns:a16="http://schemas.microsoft.com/office/drawing/2014/main" id="{0B80F5A5-4C52-43A9-804E-8CE557A5F1CF}"/>
              </a:ext>
            </a:extLst>
          </p:cNvPr>
          <p:cNvPicPr>
            <a:picLocks noChangeAspect="1"/>
          </p:cNvPicPr>
          <p:nvPr/>
        </p:nvPicPr>
        <p:blipFill>
          <a:blip r:embed="rId3"/>
          <a:stretch>
            <a:fillRect/>
          </a:stretch>
        </p:blipFill>
        <p:spPr>
          <a:xfrm>
            <a:off x="3498597" y="1450611"/>
            <a:ext cx="4751463" cy="475146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7083257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the developers</a:t>
            </a:r>
            <a:endParaRPr lang="en-US" dirty="0">
              <a:solidFill>
                <a:schemeClr val="accent3"/>
              </a:solidFill>
            </a:endParaRPr>
          </a:p>
        </p:txBody>
      </p:sp>
      <p:sp>
        <p:nvSpPr>
          <p:cNvPr id="6" name="Freeform 8">
            <a:extLst>
              <a:ext uri="{FF2B5EF4-FFF2-40B4-BE49-F238E27FC236}">
                <a16:creationId xmlns:a16="http://schemas.microsoft.com/office/drawing/2014/main" id="{2989B54F-95AA-4B2B-A496-AE45FDEFCD44}"/>
              </a:ext>
            </a:extLst>
          </p:cNvPr>
          <p:cNvSpPr/>
          <p:nvPr/>
        </p:nvSpPr>
        <p:spPr>
          <a:xfrm>
            <a:off x="784093" y="1413317"/>
            <a:ext cx="10839860" cy="564243"/>
          </a:xfrm>
          <a:custGeom>
            <a:avLst/>
            <a:gdLst>
              <a:gd name="connsiteX0" fmla="*/ 0 w 10091253"/>
              <a:gd name="connsiteY0" fmla="*/ 95942 h 575639"/>
              <a:gd name="connsiteX1" fmla="*/ 95942 w 10091253"/>
              <a:gd name="connsiteY1" fmla="*/ 0 h 575639"/>
              <a:gd name="connsiteX2" fmla="*/ 9995311 w 10091253"/>
              <a:gd name="connsiteY2" fmla="*/ 0 h 575639"/>
              <a:gd name="connsiteX3" fmla="*/ 10091253 w 10091253"/>
              <a:gd name="connsiteY3" fmla="*/ 95942 h 575639"/>
              <a:gd name="connsiteX4" fmla="*/ 10091253 w 10091253"/>
              <a:gd name="connsiteY4" fmla="*/ 479697 h 575639"/>
              <a:gd name="connsiteX5" fmla="*/ 9995311 w 10091253"/>
              <a:gd name="connsiteY5" fmla="*/ 575639 h 575639"/>
              <a:gd name="connsiteX6" fmla="*/ 95942 w 10091253"/>
              <a:gd name="connsiteY6" fmla="*/ 575639 h 575639"/>
              <a:gd name="connsiteX7" fmla="*/ 0 w 10091253"/>
              <a:gd name="connsiteY7" fmla="*/ 479697 h 575639"/>
              <a:gd name="connsiteX8" fmla="*/ 0 w 10091253"/>
              <a:gd name="connsiteY8" fmla="*/ 95942 h 57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1253" h="575639">
                <a:moveTo>
                  <a:pt x="0" y="95942"/>
                </a:moveTo>
                <a:cubicBezTo>
                  <a:pt x="0" y="42955"/>
                  <a:pt x="42955" y="0"/>
                  <a:pt x="95942" y="0"/>
                </a:cubicBezTo>
                <a:lnTo>
                  <a:pt x="9995311" y="0"/>
                </a:lnTo>
                <a:cubicBezTo>
                  <a:pt x="10048298" y="0"/>
                  <a:pt x="10091253" y="42955"/>
                  <a:pt x="10091253" y="95942"/>
                </a:cubicBezTo>
                <a:lnTo>
                  <a:pt x="10091253" y="479697"/>
                </a:lnTo>
                <a:cubicBezTo>
                  <a:pt x="10091253" y="532684"/>
                  <a:pt x="10048298" y="575639"/>
                  <a:pt x="9995311" y="575639"/>
                </a:cubicBezTo>
                <a:lnTo>
                  <a:pt x="95942" y="575639"/>
                </a:lnTo>
                <a:cubicBezTo>
                  <a:pt x="42955" y="575639"/>
                  <a:pt x="0" y="532684"/>
                  <a:pt x="0" y="479697"/>
                </a:cubicBezTo>
                <a:lnTo>
                  <a:pt x="0" y="95942"/>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7173" tIns="117173" rIns="117173" bIns="117173" numCol="1" spcCol="1270" anchor="ctr" anchorCtr="0">
            <a:noAutofit/>
          </a:bodyPr>
          <a:lstStyle/>
          <a:p>
            <a:pPr defTabSz="1045583">
              <a:lnSpc>
                <a:spcPct val="90000"/>
              </a:lnSpc>
              <a:spcBef>
                <a:spcPct val="0"/>
              </a:spcBef>
              <a:spcAft>
                <a:spcPct val="35000"/>
              </a:spcAft>
              <a:buSzPts val="2800"/>
            </a:pPr>
            <a:r>
              <a:rPr lang="en-US" sz="2745" dirty="0"/>
              <a:t>Column Encryption Setting = Enabled (.NET 4.6.1)</a:t>
            </a:r>
          </a:p>
        </p:txBody>
      </p:sp>
      <p:sp>
        <p:nvSpPr>
          <p:cNvPr id="7" name="Freeform 10">
            <a:extLst>
              <a:ext uri="{FF2B5EF4-FFF2-40B4-BE49-F238E27FC236}">
                <a16:creationId xmlns:a16="http://schemas.microsoft.com/office/drawing/2014/main" id="{CA2F77A1-E4F1-4241-818A-C475D1838282}"/>
              </a:ext>
            </a:extLst>
          </p:cNvPr>
          <p:cNvSpPr/>
          <p:nvPr/>
        </p:nvSpPr>
        <p:spPr>
          <a:xfrm>
            <a:off x="764433" y="3312970"/>
            <a:ext cx="10839860" cy="564243"/>
          </a:xfrm>
          <a:custGeom>
            <a:avLst/>
            <a:gdLst>
              <a:gd name="connsiteX0" fmla="*/ 0 w 10091253"/>
              <a:gd name="connsiteY0" fmla="*/ 95942 h 575639"/>
              <a:gd name="connsiteX1" fmla="*/ 95942 w 10091253"/>
              <a:gd name="connsiteY1" fmla="*/ 0 h 575639"/>
              <a:gd name="connsiteX2" fmla="*/ 9995311 w 10091253"/>
              <a:gd name="connsiteY2" fmla="*/ 0 h 575639"/>
              <a:gd name="connsiteX3" fmla="*/ 10091253 w 10091253"/>
              <a:gd name="connsiteY3" fmla="*/ 95942 h 575639"/>
              <a:gd name="connsiteX4" fmla="*/ 10091253 w 10091253"/>
              <a:gd name="connsiteY4" fmla="*/ 479697 h 575639"/>
              <a:gd name="connsiteX5" fmla="*/ 9995311 w 10091253"/>
              <a:gd name="connsiteY5" fmla="*/ 575639 h 575639"/>
              <a:gd name="connsiteX6" fmla="*/ 95942 w 10091253"/>
              <a:gd name="connsiteY6" fmla="*/ 575639 h 575639"/>
              <a:gd name="connsiteX7" fmla="*/ 0 w 10091253"/>
              <a:gd name="connsiteY7" fmla="*/ 479697 h 575639"/>
              <a:gd name="connsiteX8" fmla="*/ 0 w 10091253"/>
              <a:gd name="connsiteY8" fmla="*/ 95942 h 57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1253" h="575639">
                <a:moveTo>
                  <a:pt x="0" y="95942"/>
                </a:moveTo>
                <a:cubicBezTo>
                  <a:pt x="0" y="42955"/>
                  <a:pt x="42955" y="0"/>
                  <a:pt x="95942" y="0"/>
                </a:cubicBezTo>
                <a:lnTo>
                  <a:pt x="9995311" y="0"/>
                </a:lnTo>
                <a:cubicBezTo>
                  <a:pt x="10048298" y="0"/>
                  <a:pt x="10091253" y="42955"/>
                  <a:pt x="10091253" y="95942"/>
                </a:cubicBezTo>
                <a:lnTo>
                  <a:pt x="10091253" y="479697"/>
                </a:lnTo>
                <a:cubicBezTo>
                  <a:pt x="10091253" y="532684"/>
                  <a:pt x="10048298" y="575639"/>
                  <a:pt x="9995311" y="575639"/>
                </a:cubicBezTo>
                <a:lnTo>
                  <a:pt x="95942" y="575639"/>
                </a:lnTo>
                <a:cubicBezTo>
                  <a:pt x="42955" y="575639"/>
                  <a:pt x="0" y="532684"/>
                  <a:pt x="0" y="479697"/>
                </a:cubicBezTo>
                <a:lnTo>
                  <a:pt x="0" y="95942"/>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7173" tIns="117173" rIns="117173" bIns="117173" numCol="1" spcCol="1270" anchor="ctr" anchorCtr="0">
            <a:noAutofit/>
          </a:bodyPr>
          <a:lstStyle/>
          <a:p>
            <a:pPr defTabSz="1045583">
              <a:lnSpc>
                <a:spcPct val="90000"/>
              </a:lnSpc>
              <a:spcBef>
                <a:spcPct val="0"/>
              </a:spcBef>
              <a:spcAft>
                <a:spcPct val="35000"/>
              </a:spcAft>
              <a:buSzPts val="2800"/>
            </a:pPr>
            <a:r>
              <a:rPr lang="en-US" sz="2745" dirty="0"/>
              <a:t>Driver Level Parameters</a:t>
            </a:r>
          </a:p>
        </p:txBody>
      </p:sp>
      <p:sp>
        <p:nvSpPr>
          <p:cNvPr id="8" name="Freeform 11">
            <a:extLst>
              <a:ext uri="{FF2B5EF4-FFF2-40B4-BE49-F238E27FC236}">
                <a16:creationId xmlns:a16="http://schemas.microsoft.com/office/drawing/2014/main" id="{90B5EA86-2CF4-4D11-A2E2-C3F65EBC153B}"/>
              </a:ext>
            </a:extLst>
          </p:cNvPr>
          <p:cNvSpPr/>
          <p:nvPr/>
        </p:nvSpPr>
        <p:spPr>
          <a:xfrm>
            <a:off x="764433" y="4075744"/>
            <a:ext cx="9891477" cy="1290457"/>
          </a:xfrm>
          <a:custGeom>
            <a:avLst/>
            <a:gdLst>
              <a:gd name="connsiteX0" fmla="*/ 0 w 10091253"/>
              <a:gd name="connsiteY0" fmla="*/ 0 h 1316520"/>
              <a:gd name="connsiteX1" fmla="*/ 10091253 w 10091253"/>
              <a:gd name="connsiteY1" fmla="*/ 0 h 1316520"/>
              <a:gd name="connsiteX2" fmla="*/ 10091253 w 10091253"/>
              <a:gd name="connsiteY2" fmla="*/ 1316520 h 1316520"/>
              <a:gd name="connsiteX3" fmla="*/ 0 w 10091253"/>
              <a:gd name="connsiteY3" fmla="*/ 1316520 h 1316520"/>
              <a:gd name="connsiteX4" fmla="*/ 0 w 10091253"/>
              <a:gd name="connsiteY4" fmla="*/ 0 h 131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1253" h="1316520">
                <a:moveTo>
                  <a:pt x="0" y="0"/>
                </a:moveTo>
                <a:lnTo>
                  <a:pt x="10091253" y="0"/>
                </a:lnTo>
                <a:lnTo>
                  <a:pt x="10091253" y="1316520"/>
                </a:lnTo>
                <a:lnTo>
                  <a:pt x="0" y="1316520"/>
                </a:lnTo>
                <a:lnTo>
                  <a:pt x="0" y="0"/>
                </a:lnTo>
                <a:close/>
              </a:path>
            </a:pathLst>
          </a:custGeom>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14055" tIns="29877" rIns="167309" bIns="29877" numCol="1" spcCol="1270" anchor="t" anchorCtr="0">
            <a:noAutofit/>
          </a:bodyPr>
          <a:lstStyle/>
          <a:p>
            <a:pPr marL="168040" lvl="1" indent="-168040" defTabSz="827753">
              <a:lnSpc>
                <a:spcPct val="90000"/>
              </a:lnSpc>
              <a:spcBef>
                <a:spcPct val="0"/>
              </a:spcBef>
              <a:spcAft>
                <a:spcPct val="20000"/>
              </a:spcAft>
              <a:buChar char="•"/>
            </a:pPr>
            <a:endParaRPr lang="en-US" sz="1863" dirty="0"/>
          </a:p>
        </p:txBody>
      </p:sp>
      <p:sp>
        <p:nvSpPr>
          <p:cNvPr id="9" name="Rectangle 1">
            <a:extLst>
              <a:ext uri="{FF2B5EF4-FFF2-40B4-BE49-F238E27FC236}">
                <a16:creationId xmlns:a16="http://schemas.microsoft.com/office/drawing/2014/main" id="{8DE25A6D-70AF-4106-94C2-60755866852C}"/>
              </a:ext>
            </a:extLst>
          </p:cNvPr>
          <p:cNvSpPr>
            <a:spLocks noChangeArrowheads="1"/>
          </p:cNvSpPr>
          <p:nvPr/>
        </p:nvSpPr>
        <p:spPr bwMode="auto">
          <a:xfrm>
            <a:off x="1003497" y="2057605"/>
            <a:ext cx="10437920" cy="12219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sz="1400" dirty="0">
                <a:solidFill>
                  <a:srgbClr val="0000FF"/>
                </a:solidFill>
                <a:highlight>
                  <a:srgbClr val="FFFFFF"/>
                </a:highlight>
                <a:latin typeface="Consolas" panose="020B0609020204030204" pitchFamily="49" charset="0"/>
              </a:rPr>
              <a:t>S</a:t>
            </a:r>
            <a:r>
              <a:rPr lang="en-US" sz="1765" dirty="0">
                <a:solidFill>
                  <a:srgbClr val="0000FF"/>
                </a:solidFill>
                <a:highlight>
                  <a:srgbClr val="FFFFFF"/>
                </a:highlight>
                <a:latin typeface="Consolas" panose="020B0609020204030204" pitchFamily="49" charset="0"/>
              </a:rPr>
              <a:t>tring</a:t>
            </a:r>
            <a:r>
              <a:rPr lang="en-US" sz="1765" dirty="0">
                <a:solidFill>
                  <a:srgbClr val="000000"/>
                </a:solidFill>
                <a:highlight>
                  <a:srgbClr val="FFFFFF"/>
                </a:highlight>
                <a:latin typeface="Consolas" panose="020B0609020204030204" pitchFamily="49" charset="0"/>
              </a:rPr>
              <a:t> </a:t>
            </a:r>
            <a:r>
              <a:rPr lang="en-US" sz="1765" dirty="0" err="1">
                <a:solidFill>
                  <a:srgbClr val="000000"/>
                </a:solidFill>
                <a:highlight>
                  <a:srgbClr val="FFFFFF"/>
                </a:highlight>
                <a:latin typeface="Consolas" panose="020B0609020204030204" pitchFamily="49" charset="0"/>
              </a:rPr>
              <a:t>connString</a:t>
            </a:r>
            <a:r>
              <a:rPr lang="en-US" sz="1765" dirty="0">
                <a:solidFill>
                  <a:srgbClr val="000000"/>
                </a:solidFill>
                <a:highlight>
                  <a:srgbClr val="FFFFFF"/>
                </a:highlight>
                <a:latin typeface="Consolas" panose="020B0609020204030204" pitchFamily="49" charset="0"/>
              </a:rPr>
              <a:t> = </a:t>
            </a:r>
            <a:r>
              <a:rPr lang="en-US" sz="1765" dirty="0">
                <a:solidFill>
                  <a:srgbClr val="A31515"/>
                </a:solidFill>
                <a:highlight>
                  <a:srgbClr val="FFFFFF"/>
                </a:highlight>
                <a:latin typeface="Consolas" panose="020B0609020204030204" pitchFamily="49" charset="0"/>
              </a:rPr>
              <a:t>"Data Source=srv16; Integrated Security=true; </a:t>
            </a:r>
            <a:r>
              <a:rPr lang="en-US" sz="1765" b="1" dirty="0">
                <a:solidFill>
                  <a:srgbClr val="A31515"/>
                </a:solidFill>
                <a:highlight>
                  <a:srgbClr val="FFFFFF"/>
                </a:highlight>
                <a:latin typeface="Consolas" panose="020B0609020204030204" pitchFamily="49" charset="0"/>
              </a:rPr>
              <a:t>Column Encryption Setting=enabled</a:t>
            </a:r>
            <a:r>
              <a:rPr lang="en-US" sz="1765" dirty="0">
                <a:solidFill>
                  <a:srgbClr val="A31515"/>
                </a:solidFill>
                <a:highlight>
                  <a:srgbClr val="FFFFFF"/>
                </a:highlight>
                <a:latin typeface="Consolas" panose="020B0609020204030204" pitchFamily="49" charset="0"/>
              </a:rPr>
              <a:t>"</a:t>
            </a:r>
            <a:r>
              <a:rPr lang="en-US" sz="1765" dirty="0">
                <a:solidFill>
                  <a:srgbClr val="000000"/>
                </a:solidFill>
                <a:highlight>
                  <a:srgbClr val="FFFFFF"/>
                </a:highlight>
                <a:latin typeface="Consolas" panose="020B0609020204030204" pitchFamily="49" charset="0"/>
              </a:rPr>
              <a:t>;</a:t>
            </a:r>
          </a:p>
          <a:p>
            <a:r>
              <a:rPr lang="en-US" altLang="en-US" sz="1765" dirty="0">
                <a:solidFill>
                  <a:srgbClr val="0000FF"/>
                </a:solidFill>
                <a:latin typeface="Consolas" panose="020B0609020204030204" pitchFamily="49" charset="0"/>
              </a:rPr>
              <a:t>    using</a:t>
            </a:r>
            <a:r>
              <a:rPr lang="en-US" altLang="en-US" sz="1765" dirty="0">
                <a:solidFill>
                  <a:srgbClr val="000000"/>
                </a:solidFill>
                <a:latin typeface="Consolas" panose="020B0609020204030204" pitchFamily="49" charset="0"/>
              </a:rPr>
              <a:t> (</a:t>
            </a:r>
            <a:r>
              <a:rPr lang="en-US" altLang="en-US" sz="1765" dirty="0" err="1">
                <a:solidFill>
                  <a:srgbClr val="000000"/>
                </a:solidFill>
                <a:latin typeface="Consolas" panose="020B0609020204030204" pitchFamily="49" charset="0"/>
              </a:rPr>
              <a:t>SqlConnection</a:t>
            </a:r>
            <a:r>
              <a:rPr lang="en-US" altLang="en-US" sz="1765" dirty="0">
                <a:solidFill>
                  <a:srgbClr val="000000"/>
                </a:solidFill>
                <a:latin typeface="Consolas" panose="020B0609020204030204" pitchFamily="49" charset="0"/>
              </a:rPr>
              <a:t> connection = </a:t>
            </a:r>
            <a:r>
              <a:rPr lang="en-US" altLang="en-US" sz="1765" dirty="0">
                <a:solidFill>
                  <a:srgbClr val="0000FF"/>
                </a:solidFill>
                <a:latin typeface="Consolas" panose="020B0609020204030204" pitchFamily="49" charset="0"/>
              </a:rPr>
              <a:t>new</a:t>
            </a:r>
            <a:r>
              <a:rPr lang="en-US" altLang="en-US" sz="1765" dirty="0">
                <a:solidFill>
                  <a:srgbClr val="000000"/>
                </a:solidFill>
                <a:latin typeface="Consolas" panose="020B0609020204030204" pitchFamily="49" charset="0"/>
              </a:rPr>
              <a:t> </a:t>
            </a:r>
            <a:r>
              <a:rPr lang="en-US" altLang="en-US" sz="1765" dirty="0" err="1">
                <a:solidFill>
                  <a:srgbClr val="000000"/>
                </a:solidFill>
                <a:latin typeface="Consolas" panose="020B0609020204030204" pitchFamily="49" charset="0"/>
              </a:rPr>
              <a:t>SqlConnection</a:t>
            </a:r>
            <a:r>
              <a:rPr lang="en-US" altLang="en-US" sz="1765" dirty="0">
                <a:solidFill>
                  <a:srgbClr val="000000"/>
                </a:solidFill>
                <a:latin typeface="Consolas" panose="020B0609020204030204" pitchFamily="49" charset="0"/>
              </a:rPr>
              <a:t>(</a:t>
            </a:r>
            <a:r>
              <a:rPr lang="en-US" altLang="en-US" sz="1765" dirty="0" err="1">
                <a:solidFill>
                  <a:srgbClr val="000000"/>
                </a:solidFill>
                <a:latin typeface="Consolas" panose="020B0609020204030204" pitchFamily="49" charset="0"/>
              </a:rPr>
              <a:t>connectionString</a:t>
            </a:r>
            <a:r>
              <a:rPr lang="en-US" altLang="en-US" sz="1765" dirty="0">
                <a:solidFill>
                  <a:srgbClr val="000000"/>
                </a:solidFill>
                <a:latin typeface="Consolas" panose="020B0609020204030204" pitchFamily="49" charset="0"/>
              </a:rPr>
              <a:t>))</a:t>
            </a:r>
          </a:p>
          <a:p>
            <a:r>
              <a:rPr lang="en-US" altLang="en-US" sz="1765" dirty="0">
                <a:solidFill>
                  <a:srgbClr val="000000"/>
                </a:solidFill>
                <a:latin typeface="Consolas" panose="020B0609020204030204" pitchFamily="49" charset="0"/>
              </a:rPr>
              <a:t>	{ </a:t>
            </a:r>
            <a:r>
              <a:rPr lang="en-US" altLang="en-US" sz="1765" dirty="0">
                <a:solidFill>
                  <a:srgbClr val="008000"/>
                </a:solidFill>
                <a:latin typeface="Consolas" panose="020B0609020204030204" pitchFamily="49" charset="0"/>
              </a:rPr>
              <a:t>//...</a:t>
            </a:r>
            <a:r>
              <a:rPr lang="en-US" altLang="en-US" sz="1765" dirty="0">
                <a:solidFill>
                  <a:srgbClr val="000000"/>
                </a:solidFill>
                <a:latin typeface="Consolas" panose="020B0609020204030204" pitchFamily="49" charset="0"/>
              </a:rPr>
              <a:t> }</a:t>
            </a:r>
            <a:r>
              <a:rPr lang="en-US" altLang="en-US" sz="1765" dirty="0">
                <a:latin typeface="Consolas" panose="020B0609020204030204" pitchFamily="49" charset="0"/>
              </a:rPr>
              <a:t> </a:t>
            </a:r>
            <a:r>
              <a:rPr lang="en-US" altLang="en-US" sz="1765" dirty="0">
                <a:solidFill>
                  <a:srgbClr val="000000"/>
                </a:solidFill>
                <a:latin typeface="Consolas" panose="020B0609020204030204" pitchFamily="49" charset="0"/>
              </a:rPr>
              <a:t> </a:t>
            </a:r>
          </a:p>
          <a:p>
            <a:endParaRPr lang="en-US" altLang="en-US" sz="882" dirty="0">
              <a:solidFill>
                <a:srgbClr val="000000"/>
              </a:solidFill>
              <a:latin typeface="Consolas" panose="020B0609020204030204" pitchFamily="49" charset="0"/>
            </a:endParaRPr>
          </a:p>
        </p:txBody>
      </p:sp>
      <p:sp>
        <p:nvSpPr>
          <p:cNvPr id="10" name="Rectangle 7">
            <a:extLst>
              <a:ext uri="{FF2B5EF4-FFF2-40B4-BE49-F238E27FC236}">
                <a16:creationId xmlns:a16="http://schemas.microsoft.com/office/drawing/2014/main" id="{3C7EF57E-845A-4AE5-A3D7-871705228C21}"/>
              </a:ext>
            </a:extLst>
          </p:cNvPr>
          <p:cNvSpPr>
            <a:spLocks noChangeArrowheads="1"/>
          </p:cNvSpPr>
          <p:nvPr/>
        </p:nvSpPr>
        <p:spPr bwMode="auto">
          <a:xfrm>
            <a:off x="1003498" y="4020548"/>
            <a:ext cx="10437919" cy="21724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896214" eaLnBrk="0" fontAlgn="base" hangingPunct="0">
              <a:spcBef>
                <a:spcPct val="0"/>
              </a:spcBef>
              <a:spcAft>
                <a:spcPct val="0"/>
              </a:spcAft>
            </a:pPr>
            <a:r>
              <a:rPr lang="en-US" altLang="en-US" sz="1568" dirty="0">
                <a:solidFill>
                  <a:srgbClr val="0000FF"/>
                </a:solidFill>
                <a:latin typeface="Consolas" panose="020B0609020204030204" pitchFamily="49" charset="0"/>
              </a:rPr>
              <a:t>using</a:t>
            </a:r>
            <a:r>
              <a:rPr lang="en-US" altLang="en-US" sz="1568" dirty="0">
                <a:solidFill>
                  <a:srgbClr val="000000"/>
                </a:solidFill>
                <a:latin typeface="Consolas" panose="020B0609020204030204" pitchFamily="49" charset="0"/>
              </a:rPr>
              <a:t> (</a:t>
            </a:r>
            <a:r>
              <a:rPr lang="en-US" altLang="en-US" sz="1568" dirty="0" err="1">
                <a:solidFill>
                  <a:srgbClr val="000000"/>
                </a:solidFill>
                <a:latin typeface="Consolas" panose="020B0609020204030204" pitchFamily="49" charset="0"/>
              </a:rPr>
              <a:t>SqlCommand</a:t>
            </a:r>
            <a:r>
              <a:rPr lang="en-US" altLang="en-US" sz="1568" dirty="0">
                <a:solidFill>
                  <a:srgbClr val="000000"/>
                </a:solidFill>
                <a:latin typeface="Consolas" panose="020B0609020204030204" pitchFamily="49" charset="0"/>
              </a:rPr>
              <a:t> </a:t>
            </a:r>
            <a:r>
              <a:rPr lang="en-US" altLang="en-US" sz="1568" dirty="0" err="1">
                <a:solidFill>
                  <a:srgbClr val="000000"/>
                </a:solidFill>
                <a:latin typeface="Consolas" panose="020B0609020204030204" pitchFamily="49" charset="0"/>
              </a:rPr>
              <a:t>cmd</a:t>
            </a:r>
            <a:r>
              <a:rPr lang="en-US" altLang="en-US" sz="1568" dirty="0">
                <a:solidFill>
                  <a:srgbClr val="000000"/>
                </a:solidFill>
                <a:latin typeface="Consolas" panose="020B0609020204030204" pitchFamily="49" charset="0"/>
              </a:rPr>
              <a:t> = </a:t>
            </a:r>
            <a:r>
              <a:rPr lang="en-US" altLang="en-US" sz="1568" dirty="0">
                <a:solidFill>
                  <a:srgbClr val="0000FF"/>
                </a:solidFill>
                <a:latin typeface="Consolas" panose="020B0609020204030204" pitchFamily="49" charset="0"/>
              </a:rPr>
              <a:t>new</a:t>
            </a:r>
            <a:r>
              <a:rPr lang="en-US" altLang="en-US" sz="1568" dirty="0">
                <a:solidFill>
                  <a:srgbClr val="000000"/>
                </a:solidFill>
                <a:latin typeface="Consolas" panose="020B0609020204030204" pitchFamily="49" charset="0"/>
              </a:rPr>
              <a:t> </a:t>
            </a:r>
            <a:r>
              <a:rPr lang="en-US" altLang="en-US" sz="1568" dirty="0" err="1">
                <a:solidFill>
                  <a:srgbClr val="000000"/>
                </a:solidFill>
                <a:latin typeface="Consolas" panose="020B0609020204030204" pitchFamily="49" charset="0"/>
              </a:rPr>
              <a:t>SqlCommand</a:t>
            </a:r>
            <a:r>
              <a:rPr lang="en-US" altLang="en-US" sz="1568" dirty="0">
                <a:solidFill>
                  <a:srgbClr val="000000"/>
                </a:solidFill>
                <a:latin typeface="Consolas" panose="020B0609020204030204" pitchFamily="49" charset="0"/>
              </a:rPr>
              <a:t>(</a:t>
            </a:r>
            <a:r>
              <a:rPr lang="en-US" altLang="en-US" sz="1568" dirty="0">
                <a:solidFill>
                  <a:srgbClr val="A31515"/>
                </a:solidFill>
                <a:latin typeface="Consolas" panose="020B0609020204030204" pitchFamily="49" charset="0"/>
              </a:rPr>
              <a:t>"SELECT Name FROM Customers WHERE </a:t>
            </a:r>
            <a:r>
              <a:rPr lang="en-US" altLang="en-US" sz="1568" dirty="0" err="1">
                <a:solidFill>
                  <a:srgbClr val="A31515"/>
                </a:solidFill>
                <a:latin typeface="Consolas" panose="020B0609020204030204" pitchFamily="49" charset="0"/>
              </a:rPr>
              <a:t>PersonalId</a:t>
            </a:r>
            <a:r>
              <a:rPr lang="en-US" altLang="en-US" sz="1568" dirty="0">
                <a:solidFill>
                  <a:srgbClr val="A31515"/>
                </a:solidFill>
                <a:latin typeface="Consolas" panose="020B0609020204030204" pitchFamily="49" charset="0"/>
              </a:rPr>
              <a:t> = @</a:t>
            </a:r>
            <a:r>
              <a:rPr lang="en-US" altLang="en-US" sz="1568" dirty="0" err="1">
                <a:solidFill>
                  <a:srgbClr val="A31515"/>
                </a:solidFill>
                <a:latin typeface="Consolas" panose="020B0609020204030204" pitchFamily="49" charset="0"/>
              </a:rPr>
              <a:t>PersonalId</a:t>
            </a:r>
            <a:r>
              <a:rPr lang="en-US" altLang="en-US" sz="1568" dirty="0">
                <a:solidFill>
                  <a:srgbClr val="A31515"/>
                </a:solidFill>
                <a:latin typeface="Consolas" panose="020B0609020204030204" pitchFamily="49" charset="0"/>
              </a:rPr>
              <a:t>"</a:t>
            </a:r>
            <a:r>
              <a:rPr lang="en-US" altLang="en-US" sz="1568" dirty="0">
                <a:solidFill>
                  <a:srgbClr val="000000"/>
                </a:solidFill>
                <a:latin typeface="Consolas" panose="020B0609020204030204" pitchFamily="49" charset="0"/>
              </a:rPr>
              <a:t>, connection)) </a:t>
            </a:r>
          </a:p>
          <a:p>
            <a:pPr defTabSz="896214" eaLnBrk="0" fontAlgn="base" hangingPunct="0">
              <a:spcBef>
                <a:spcPct val="0"/>
              </a:spcBef>
              <a:spcAft>
                <a:spcPct val="0"/>
              </a:spcAft>
            </a:pPr>
            <a:r>
              <a:rPr lang="en-US" altLang="en-US" sz="1568" dirty="0">
                <a:solidFill>
                  <a:srgbClr val="000000"/>
                </a:solidFill>
                <a:latin typeface="Consolas" panose="020B0609020204030204" pitchFamily="49" charset="0"/>
              </a:rPr>
              <a:t>    { </a:t>
            </a:r>
          </a:p>
          <a:p>
            <a:pPr defTabSz="896214" eaLnBrk="0" fontAlgn="base" hangingPunct="0">
              <a:spcBef>
                <a:spcPct val="0"/>
              </a:spcBef>
              <a:spcAft>
                <a:spcPct val="0"/>
              </a:spcAft>
            </a:pPr>
            <a:r>
              <a:rPr lang="en-US" altLang="en-US" sz="1568" dirty="0">
                <a:solidFill>
                  <a:srgbClr val="000000"/>
                </a:solidFill>
                <a:latin typeface="Consolas" panose="020B0609020204030204" pitchFamily="49" charset="0"/>
              </a:rPr>
              <a:t>	SqlParameter </a:t>
            </a:r>
            <a:r>
              <a:rPr lang="en-US" altLang="en-US" sz="1568" dirty="0" err="1">
                <a:solidFill>
                  <a:srgbClr val="000000"/>
                </a:solidFill>
                <a:latin typeface="Consolas" panose="020B0609020204030204" pitchFamily="49" charset="0"/>
              </a:rPr>
              <a:t>PersonalId</a:t>
            </a:r>
            <a:r>
              <a:rPr lang="en-US" altLang="en-US" sz="1568" dirty="0">
                <a:solidFill>
                  <a:srgbClr val="000000"/>
                </a:solidFill>
                <a:latin typeface="Consolas" panose="020B0609020204030204" pitchFamily="49" charset="0"/>
              </a:rPr>
              <a:t> = </a:t>
            </a:r>
            <a:r>
              <a:rPr lang="en-US" altLang="en-US" sz="1568" dirty="0">
                <a:solidFill>
                  <a:srgbClr val="0000FF"/>
                </a:solidFill>
                <a:latin typeface="Consolas" panose="020B0609020204030204" pitchFamily="49" charset="0"/>
              </a:rPr>
              <a:t>new</a:t>
            </a:r>
            <a:r>
              <a:rPr lang="en-US" altLang="en-US" sz="1568" dirty="0">
                <a:solidFill>
                  <a:srgbClr val="000000"/>
                </a:solidFill>
                <a:latin typeface="Consolas" panose="020B0609020204030204" pitchFamily="49" charset="0"/>
              </a:rPr>
              <a:t> </a:t>
            </a:r>
            <a:r>
              <a:rPr lang="en-US" altLang="en-US" sz="1568" b="1" dirty="0">
                <a:solidFill>
                  <a:srgbClr val="000000"/>
                </a:solidFill>
                <a:latin typeface="Consolas" panose="020B0609020204030204" pitchFamily="49" charset="0"/>
              </a:rPr>
              <a:t>SqlParameter</a:t>
            </a:r>
            <a:r>
              <a:rPr lang="en-US" altLang="en-US" sz="1568" dirty="0">
                <a:solidFill>
                  <a:srgbClr val="000000"/>
                </a:solidFill>
                <a:latin typeface="Consolas" panose="020B0609020204030204" pitchFamily="49" charset="0"/>
              </a:rPr>
              <a:t>(</a:t>
            </a:r>
            <a:r>
              <a:rPr lang="en-US" altLang="en-US" sz="1568" dirty="0">
                <a:solidFill>
                  <a:srgbClr val="A31515"/>
                </a:solidFill>
                <a:latin typeface="Consolas" panose="020B0609020204030204" pitchFamily="49" charset="0"/>
              </a:rPr>
              <a:t>"@</a:t>
            </a:r>
            <a:r>
              <a:rPr lang="en-US" altLang="en-US" sz="1568" dirty="0" err="1">
                <a:solidFill>
                  <a:srgbClr val="A31515"/>
                </a:solidFill>
                <a:latin typeface="Consolas" panose="020B0609020204030204" pitchFamily="49" charset="0"/>
              </a:rPr>
              <a:t>PersonalId</a:t>
            </a:r>
            <a:r>
              <a:rPr lang="en-US" altLang="en-US" sz="1568" dirty="0">
                <a:solidFill>
                  <a:srgbClr val="A31515"/>
                </a:solidFill>
                <a:latin typeface="Consolas" panose="020B0609020204030204" pitchFamily="49" charset="0"/>
              </a:rPr>
              <a:t>"</a:t>
            </a:r>
            <a:r>
              <a:rPr lang="en-US" altLang="en-US" sz="1568" dirty="0">
                <a:solidFill>
                  <a:srgbClr val="000000"/>
                </a:solidFill>
                <a:latin typeface="Consolas" panose="020B0609020204030204" pitchFamily="49" charset="0"/>
              </a:rPr>
              <a:t>, </a:t>
            </a:r>
            <a:r>
              <a:rPr lang="en-US" altLang="en-US" sz="1568" dirty="0" err="1">
                <a:solidFill>
                  <a:srgbClr val="000000"/>
                </a:solidFill>
                <a:latin typeface="Consolas" panose="020B0609020204030204" pitchFamily="49" charset="0"/>
              </a:rPr>
              <a:t>System.Data.SqlDbType.VarChar</a:t>
            </a:r>
            <a:r>
              <a:rPr lang="en-US" altLang="en-US" sz="1568" dirty="0">
                <a:solidFill>
                  <a:srgbClr val="000000"/>
                </a:solidFill>
                <a:latin typeface="Consolas" panose="020B0609020204030204" pitchFamily="49" charset="0"/>
              </a:rPr>
              <a:t>, 11); </a:t>
            </a:r>
          </a:p>
          <a:p>
            <a:pPr defTabSz="896214" eaLnBrk="0" fontAlgn="base" hangingPunct="0">
              <a:spcBef>
                <a:spcPct val="0"/>
              </a:spcBef>
              <a:spcAft>
                <a:spcPct val="0"/>
              </a:spcAft>
            </a:pPr>
            <a:r>
              <a:rPr lang="en-US" altLang="en-US" sz="1568" dirty="0">
                <a:solidFill>
                  <a:srgbClr val="000000"/>
                </a:solidFill>
                <a:latin typeface="Consolas" panose="020B0609020204030204" pitchFamily="49" charset="0"/>
              </a:rPr>
              <a:t>	</a:t>
            </a:r>
            <a:r>
              <a:rPr lang="en-US" altLang="en-US" sz="1568" dirty="0" err="1">
                <a:solidFill>
                  <a:srgbClr val="000000"/>
                </a:solidFill>
                <a:latin typeface="Consolas" panose="020B0609020204030204" pitchFamily="49" charset="0"/>
              </a:rPr>
              <a:t>PersonalId.Value</a:t>
            </a:r>
            <a:r>
              <a:rPr lang="en-US" altLang="en-US" sz="1568" dirty="0">
                <a:solidFill>
                  <a:srgbClr val="000000"/>
                </a:solidFill>
                <a:latin typeface="Consolas" panose="020B0609020204030204" pitchFamily="49" charset="0"/>
              </a:rPr>
              <a:t> = </a:t>
            </a:r>
            <a:r>
              <a:rPr lang="en-US" altLang="en-US" sz="1568" dirty="0">
                <a:solidFill>
                  <a:srgbClr val="A31515"/>
                </a:solidFill>
                <a:latin typeface="Consolas" panose="020B0609020204030204" pitchFamily="49" charset="0"/>
              </a:rPr>
              <a:t>"111-22-3333"</a:t>
            </a:r>
            <a:r>
              <a:rPr lang="en-US" altLang="en-US" sz="1568" dirty="0">
                <a:solidFill>
                  <a:srgbClr val="000000"/>
                </a:solidFill>
                <a:latin typeface="Consolas" panose="020B0609020204030204" pitchFamily="49" charset="0"/>
              </a:rPr>
              <a:t>; </a:t>
            </a:r>
          </a:p>
          <a:p>
            <a:pPr defTabSz="896214" eaLnBrk="0" fontAlgn="base" hangingPunct="0">
              <a:spcBef>
                <a:spcPct val="0"/>
              </a:spcBef>
              <a:spcAft>
                <a:spcPct val="0"/>
              </a:spcAft>
            </a:pPr>
            <a:endParaRPr lang="en-US" altLang="en-US" sz="1568" dirty="0">
              <a:solidFill>
                <a:srgbClr val="000000"/>
              </a:solidFill>
              <a:latin typeface="Consolas" panose="020B0609020204030204" pitchFamily="49" charset="0"/>
            </a:endParaRPr>
          </a:p>
          <a:p>
            <a:pPr defTabSz="896214" eaLnBrk="0" fontAlgn="base" hangingPunct="0">
              <a:spcBef>
                <a:spcPct val="0"/>
              </a:spcBef>
              <a:spcAft>
                <a:spcPct val="0"/>
              </a:spcAft>
            </a:pPr>
            <a:r>
              <a:rPr lang="en-US" altLang="en-US" sz="1568" dirty="0">
                <a:solidFill>
                  <a:srgbClr val="000000"/>
                </a:solidFill>
                <a:latin typeface="Consolas" panose="020B0609020204030204" pitchFamily="49" charset="0"/>
              </a:rPr>
              <a:t>	</a:t>
            </a:r>
            <a:r>
              <a:rPr lang="en-US" altLang="en-US" sz="1568" dirty="0" err="1">
                <a:solidFill>
                  <a:srgbClr val="000000"/>
                </a:solidFill>
                <a:latin typeface="Consolas" panose="020B0609020204030204" pitchFamily="49" charset="0"/>
              </a:rPr>
              <a:t>cmd.Parameters.Add</a:t>
            </a:r>
            <a:r>
              <a:rPr lang="en-US" altLang="en-US" sz="1568" dirty="0">
                <a:solidFill>
                  <a:srgbClr val="000000"/>
                </a:solidFill>
                <a:latin typeface="Consolas" panose="020B0609020204030204" pitchFamily="49" charset="0"/>
              </a:rPr>
              <a:t>(</a:t>
            </a:r>
            <a:r>
              <a:rPr lang="en-US" altLang="en-US" sz="1568" dirty="0" err="1">
                <a:solidFill>
                  <a:srgbClr val="000000"/>
                </a:solidFill>
                <a:latin typeface="Consolas" panose="020B0609020204030204" pitchFamily="49" charset="0"/>
              </a:rPr>
              <a:t>PersonalId</a:t>
            </a:r>
            <a:r>
              <a:rPr lang="en-US" altLang="en-US" sz="1568" dirty="0">
                <a:solidFill>
                  <a:srgbClr val="000000"/>
                </a:solidFill>
                <a:latin typeface="Consolas" panose="020B0609020204030204" pitchFamily="49" charset="0"/>
              </a:rPr>
              <a:t>); </a:t>
            </a:r>
          </a:p>
          <a:p>
            <a:pPr defTabSz="896214" eaLnBrk="0" fontAlgn="base" hangingPunct="0">
              <a:spcBef>
                <a:spcPct val="0"/>
              </a:spcBef>
              <a:spcAft>
                <a:spcPct val="0"/>
              </a:spcAft>
            </a:pPr>
            <a:r>
              <a:rPr lang="en-US" altLang="en-US" sz="1568" dirty="0">
                <a:solidFill>
                  <a:srgbClr val="000000"/>
                </a:solidFill>
                <a:latin typeface="Consolas" panose="020B0609020204030204" pitchFamily="49" charset="0"/>
              </a:rPr>
              <a:t>	</a:t>
            </a:r>
            <a:r>
              <a:rPr lang="en-US" altLang="en-US" sz="1568" dirty="0" err="1">
                <a:solidFill>
                  <a:srgbClr val="000000"/>
                </a:solidFill>
                <a:latin typeface="Consolas" panose="020B0609020204030204" pitchFamily="49" charset="0"/>
              </a:rPr>
              <a:t>cmd.ExecuteReader</a:t>
            </a:r>
            <a:r>
              <a:rPr lang="en-US" altLang="en-US" sz="1568" dirty="0">
                <a:solidFill>
                  <a:srgbClr val="000000"/>
                </a:solidFill>
                <a:latin typeface="Consolas" panose="020B0609020204030204" pitchFamily="49" charset="0"/>
              </a:rPr>
              <a:t>(); }</a:t>
            </a:r>
            <a:r>
              <a:rPr lang="en-US" altLang="en-US" sz="1568" dirty="0">
                <a:latin typeface="Consolas" panose="020B0609020204030204" pitchFamily="49" charset="0"/>
              </a:rPr>
              <a:t> </a:t>
            </a:r>
          </a:p>
        </p:txBody>
      </p:sp>
    </p:spTree>
    <p:extLst>
      <p:ext uri="{BB962C8B-B14F-4D97-AF65-F5344CB8AC3E}">
        <p14:creationId xmlns:p14="http://schemas.microsoft.com/office/powerpoint/2010/main" val="6040443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75C3EA"/>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895DE7-8142-4F4B-A6BC-24319628C14F}"/>
              </a:ext>
            </a:extLst>
          </p:cNvPr>
          <p:cNvSpPr/>
          <p:nvPr/>
        </p:nvSpPr>
        <p:spPr bwMode="auto">
          <a:xfrm>
            <a:off x="269524" y="690281"/>
            <a:ext cx="11748763" cy="40064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Picture 2" descr="Image result for mvp reconnect logo">
            <a:extLst>
              <a:ext uri="{FF2B5EF4-FFF2-40B4-BE49-F238E27FC236}">
                <a16:creationId xmlns:a16="http://schemas.microsoft.com/office/drawing/2014/main" id="{AC96F93F-0C0B-4E9F-9020-F3A82BC900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524" y="5255541"/>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857AFFFB-2FF6-4E89-98AF-192F25EAB5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92377" y="4893823"/>
            <a:ext cx="1576068" cy="1576068"/>
          </a:xfrm>
          <a:prstGeom prst="rect">
            <a:avLst/>
          </a:prstGeom>
        </p:spPr>
      </p:pic>
      <p:sp>
        <p:nvSpPr>
          <p:cNvPr id="8" name="TextBox 7">
            <a:extLst>
              <a:ext uri="{FF2B5EF4-FFF2-40B4-BE49-F238E27FC236}">
                <a16:creationId xmlns:a16="http://schemas.microsoft.com/office/drawing/2014/main" id="{26025B8D-586C-40E2-813B-D44DD4CA4556}"/>
              </a:ext>
            </a:extLst>
          </p:cNvPr>
          <p:cNvSpPr txBox="1"/>
          <p:nvPr/>
        </p:nvSpPr>
        <p:spPr>
          <a:xfrm>
            <a:off x="4043903" y="950497"/>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GitHub: github.com\SQLMCT</a:t>
            </a:r>
          </a:p>
        </p:txBody>
      </p:sp>
      <p:pic>
        <p:nvPicPr>
          <p:cNvPr id="14" name="Picture 13" descr="A person wearing glasses and looking at the camera&#10;&#10;Description automatically generated">
            <a:extLst>
              <a:ext uri="{FF2B5EF4-FFF2-40B4-BE49-F238E27FC236}">
                <a16:creationId xmlns:a16="http://schemas.microsoft.com/office/drawing/2014/main" id="{4BF1FCD6-B874-43C1-B7DC-00D8BA7597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8581" y="1225459"/>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40" name="Picture 2">
            <a:extLst>
              <a:ext uri="{FF2B5EF4-FFF2-40B4-BE49-F238E27FC236}">
                <a16:creationId xmlns:a16="http://schemas.microsoft.com/office/drawing/2014/main" id="{BA556E9C-C257-46F8-806F-23A52BB5A3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8991" y="4885480"/>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1BCF9874-B55B-4EFC-BBD2-EC31BB5138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42219" y="4918806"/>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a:extLst>
              <a:ext uri="{FF2B5EF4-FFF2-40B4-BE49-F238E27FC236}">
                <a16:creationId xmlns:a16="http://schemas.microsoft.com/office/drawing/2014/main" id="{CD6C68E0-AA3D-4089-A9D8-76DB3F1D13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5605" y="4893823"/>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225638B0-3CDF-4AA9-9C43-F417F187C4B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6279329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6410" y="320481"/>
            <a:ext cx="10879182" cy="461600"/>
          </a:xfrm>
        </p:spPr>
        <p:txBody>
          <a:bodyPr wrap="square" anchor="t">
            <a:normAutofit/>
          </a:bodyPr>
          <a:lstStyle/>
          <a:p>
            <a:r>
              <a:rPr lang="en-US" dirty="0"/>
              <a:t>Limitations</a:t>
            </a:r>
            <a:endParaRPr lang="en-US"/>
          </a:p>
        </p:txBody>
      </p:sp>
      <p:graphicFrame>
        <p:nvGraphicFramePr>
          <p:cNvPr id="5" name="Text Placeholder 2">
            <a:extLst>
              <a:ext uri="{FF2B5EF4-FFF2-40B4-BE49-F238E27FC236}">
                <a16:creationId xmlns:a16="http://schemas.microsoft.com/office/drawing/2014/main" id="{437A8105-DF17-4727-BDDA-D68545EE735C}"/>
              </a:ext>
            </a:extLst>
          </p:cNvPr>
          <p:cNvGraphicFramePr>
            <a:graphicFrameLocks noGrp="1"/>
          </p:cNvGraphicFramePr>
          <p:nvPr>
            <p:ph sz="quarter" idx="13"/>
          </p:nvPr>
        </p:nvGraphicFramePr>
        <p:xfrm>
          <a:off x="656410" y="1408401"/>
          <a:ext cx="10879183" cy="48189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233757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6410" y="320481"/>
            <a:ext cx="10879182" cy="461600"/>
          </a:xfrm>
        </p:spPr>
        <p:txBody>
          <a:bodyPr wrap="square" anchor="t">
            <a:normAutofit/>
          </a:bodyPr>
          <a:lstStyle/>
          <a:p>
            <a:r>
              <a:rPr lang="en-US" dirty="0"/>
              <a:t>Permissions</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nvPr>
        </p:nvGraphicFramePr>
        <p:xfrm>
          <a:off x="656410" y="1408401"/>
          <a:ext cx="10879183" cy="48189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664464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283545" y="216812"/>
            <a:ext cx="11655840" cy="899537"/>
          </a:xfrm>
        </p:spPr>
        <p:txBody>
          <a:bodyPr/>
          <a:lstStyle/>
          <a:p>
            <a:r>
              <a:rPr lang="en-US" dirty="0"/>
              <a:t>Always Encrypted</a:t>
            </a:r>
          </a:p>
        </p:txBody>
      </p:sp>
      <p:grpSp>
        <p:nvGrpSpPr>
          <p:cNvPr id="7" name="Group 6">
            <a:extLst>
              <a:ext uri="{FF2B5EF4-FFF2-40B4-BE49-F238E27FC236}">
                <a16:creationId xmlns:a16="http://schemas.microsoft.com/office/drawing/2014/main" id="{309F26B9-E4B5-46F4-9801-676139B5EC07}"/>
              </a:ext>
            </a:extLst>
          </p:cNvPr>
          <p:cNvGrpSpPr/>
          <p:nvPr/>
        </p:nvGrpSpPr>
        <p:grpSpPr>
          <a:xfrm>
            <a:off x="807618" y="1561448"/>
            <a:ext cx="10607694" cy="4482124"/>
            <a:chOff x="960437" y="1592262"/>
            <a:chExt cx="10820400" cy="4572000"/>
          </a:xfrm>
        </p:grpSpPr>
        <p:sp>
          <p:nvSpPr>
            <p:cNvPr id="5" name="Rectangle: Rounded Corners 4">
              <a:extLst>
                <a:ext uri="{FF2B5EF4-FFF2-40B4-BE49-F238E27FC236}">
                  <a16:creationId xmlns:a16="http://schemas.microsoft.com/office/drawing/2014/main" id="{43302ADB-875F-4364-93B2-7DFC074BD52C}"/>
                </a:ext>
              </a:extLst>
            </p:cNvPr>
            <p:cNvSpPr/>
            <p:nvPr/>
          </p:nvSpPr>
          <p:spPr bwMode="auto">
            <a:xfrm>
              <a:off x="960437" y="1592262"/>
              <a:ext cx="10820400" cy="4572000"/>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CD05ECAD-C646-4478-BEF3-5A01D5436AC0}"/>
                </a:ext>
              </a:extLst>
            </p:cNvPr>
            <p:cNvSpPr txBox="1"/>
            <p:nvPr/>
          </p:nvSpPr>
          <p:spPr>
            <a:xfrm>
              <a:off x="1782862" y="2938192"/>
              <a:ext cx="9372600" cy="1625060"/>
            </a:xfrm>
            <a:prstGeom prst="rect">
              <a:avLst/>
            </a:prstGeom>
            <a:noFill/>
          </p:spPr>
          <p:txBody>
            <a:bodyPr wrap="square" lIns="179285" tIns="143428" rIns="179285" bIns="143428" rtlCol="0">
              <a:spAutoFit/>
            </a:bodyPr>
            <a:lstStyle/>
            <a:p>
              <a:pPr algn="ctr">
                <a:lnSpc>
                  <a:spcPct val="90000"/>
                </a:lnSpc>
                <a:spcAft>
                  <a:spcPts val="588"/>
                </a:spcAft>
              </a:pPr>
              <a:r>
                <a:rPr lang="en-US" sz="9411" dirty="0">
                  <a:solidFill>
                    <a:schemeClr val="bg1"/>
                  </a:solidFill>
                </a:rPr>
                <a:t>Demonstration</a:t>
              </a:r>
            </a:p>
          </p:txBody>
        </p:sp>
      </p:grpSp>
    </p:spTree>
    <p:extLst>
      <p:ext uri="{BB962C8B-B14F-4D97-AF65-F5344CB8AC3E}">
        <p14:creationId xmlns:p14="http://schemas.microsoft.com/office/powerpoint/2010/main" val="2458518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FDD25DC-901F-4F78-A6D8-D6406C0A1346}"/>
              </a:ext>
            </a:extLst>
          </p:cNvPr>
          <p:cNvSpPr txBox="1">
            <a:spLocks/>
          </p:cNvSpPr>
          <p:nvPr/>
        </p:nvSpPr>
        <p:spPr>
          <a:xfrm>
            <a:off x="655638" y="320040"/>
            <a:ext cx="10880725" cy="461665"/>
          </a:xfrm>
          <a:prstGeom prst="rect">
            <a:avLst/>
          </a:prstGeom>
          <a:solidFill>
            <a:schemeClr val="bg1"/>
          </a:solidFill>
        </p:spPr>
        <p:txBody>
          <a:bodyPr vert="horz" wrap="square" lIns="0" tIns="0" rIns="0" bIns="0" rtlCol="0" anchor="t">
            <a:normAutofit/>
          </a:bodyPr>
          <a:lstStyle>
            <a:lvl1pPr algn="l" defTabSz="914367" rtl="0" eaLnBrk="1" latinLnBrk="0" hangingPunct="1">
              <a:lnSpc>
                <a:spcPct val="90000"/>
              </a:lnSpc>
              <a:spcBef>
                <a:spcPct val="0"/>
              </a:spcBef>
              <a:buNone/>
              <a:defRPr lang="en-US" sz="3200" b="0" kern="1200" cap="none" spc="0" baseline="0">
                <a:ln w="3175">
                  <a:noFill/>
                </a:ln>
                <a:solidFill>
                  <a:srgbClr val="000000"/>
                </a:solidFill>
                <a:effectLst/>
                <a:latin typeface="+mj-lt"/>
                <a:ea typeface="+mn-ea"/>
                <a:cs typeface="Segoe UI" pitchFamily="34" charset="0"/>
              </a:defRPr>
            </a:lvl1pPr>
          </a:lstStyle>
          <a:p>
            <a:pPr>
              <a:spcAft>
                <a:spcPts val="600"/>
              </a:spcAft>
            </a:pPr>
            <a:r>
              <a:rPr lang="en-US" b="0" kern="1200" cap="none" spc="0" baseline="0">
                <a:ln w="3175">
                  <a:noFill/>
                </a:ln>
                <a:effectLst/>
                <a:latin typeface="+mj-lt"/>
                <a:ea typeface="+mn-ea"/>
                <a:cs typeface="Segoe UI" pitchFamily="34" charset="0"/>
              </a:rPr>
              <a:t>Encryption</a:t>
            </a:r>
          </a:p>
        </p:txBody>
      </p:sp>
      <p:pic>
        <p:nvPicPr>
          <p:cNvPr id="4" name="Picture 3" descr="Transparent padlock">
            <a:extLst>
              <a:ext uri="{FF2B5EF4-FFF2-40B4-BE49-F238E27FC236}">
                <a16:creationId xmlns:a16="http://schemas.microsoft.com/office/drawing/2014/main" id="{C3794C4D-963B-4B00-A549-C591AC451F20}"/>
              </a:ext>
            </a:extLst>
          </p:cNvPr>
          <p:cNvPicPr>
            <a:picLocks noChangeAspect="1"/>
          </p:cNvPicPr>
          <p:nvPr/>
        </p:nvPicPr>
        <p:blipFill rotWithShape="1">
          <a:blip r:embed="rId3"/>
          <a:srcRect t="30566" r="1" b="1808"/>
          <a:stretch/>
        </p:blipFill>
        <p:spPr>
          <a:xfrm>
            <a:off x="655638" y="1408114"/>
            <a:ext cx="10880726" cy="4819650"/>
          </a:xfrm>
          <a:prstGeom prst="rect">
            <a:avLst/>
          </a:prstGeom>
          <a:noFill/>
        </p:spPr>
      </p:pic>
    </p:spTree>
    <p:extLst>
      <p:ext uri="{BB962C8B-B14F-4D97-AF65-F5344CB8AC3E}">
        <p14:creationId xmlns:p14="http://schemas.microsoft.com/office/powerpoint/2010/main" val="411122586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655638" y="320040"/>
            <a:ext cx="10880725" cy="461665"/>
          </a:xfrm>
        </p:spPr>
        <p:txBody>
          <a:bodyPr wrap="square" anchor="t">
            <a:normAutofit/>
          </a:bodyPr>
          <a:lstStyle/>
          <a:p>
            <a:r>
              <a:rPr lang="en-US" dirty="0"/>
              <a:t>What is Encryption?</a:t>
            </a:r>
          </a:p>
        </p:txBody>
      </p:sp>
      <p:graphicFrame>
        <p:nvGraphicFramePr>
          <p:cNvPr id="3" name="Diagram 2">
            <a:extLst>
              <a:ext uri="{FF2B5EF4-FFF2-40B4-BE49-F238E27FC236}">
                <a16:creationId xmlns:a16="http://schemas.microsoft.com/office/drawing/2014/main" id="{DCC586F1-D51C-4003-94F7-AD259B1DF6CC}"/>
              </a:ext>
            </a:extLst>
          </p:cNvPr>
          <p:cNvGraphicFramePr/>
          <p:nvPr>
            <p:extLst>
              <p:ext uri="{D42A27DB-BD31-4B8C-83A1-F6EECF244321}">
                <p14:modId xmlns:p14="http://schemas.microsoft.com/office/powerpoint/2010/main" val="469377573"/>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5959313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1">
            <a:extLst>
              <a:ext uri="{FF2B5EF4-FFF2-40B4-BE49-F238E27FC236}">
                <a16:creationId xmlns:a16="http://schemas.microsoft.com/office/drawing/2014/main" id="{C81BDCA1-A536-49D8-8ED9-602C00F91899}"/>
              </a:ext>
            </a:extLst>
          </p:cNvPr>
          <p:cNvGraphicFramePr>
            <a:graphicFrameLocks/>
          </p:cNvGraphicFramePr>
          <p:nvPr/>
        </p:nvGraphicFramePr>
        <p:xfrm>
          <a:off x="655636"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a:t>What are certificates?</a:t>
            </a:r>
          </a:p>
        </p:txBody>
      </p:sp>
    </p:spTree>
    <p:extLst>
      <p:ext uri="{BB962C8B-B14F-4D97-AF65-F5344CB8AC3E}">
        <p14:creationId xmlns:p14="http://schemas.microsoft.com/office/powerpoint/2010/main" val="2424086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DEDBD8-57A1-4E23-A54C-C8A603502C44}"/>
              </a:ext>
            </a:extLst>
          </p:cNvPr>
          <p:cNvSpPr>
            <a:spLocks noGrp="1"/>
          </p:cNvSpPr>
          <p:nvPr>
            <p:ph type="title"/>
          </p:nvPr>
        </p:nvSpPr>
        <p:spPr>
          <a:xfrm>
            <a:off x="655638" y="320040"/>
            <a:ext cx="10880725" cy="461665"/>
          </a:xfrm>
        </p:spPr>
        <p:txBody>
          <a:bodyPr wrap="square" anchor="t">
            <a:normAutofit/>
          </a:bodyPr>
          <a:lstStyle/>
          <a:p>
            <a:r>
              <a:rPr lang="en-US"/>
              <a:t>Always Encrypted</a:t>
            </a:r>
            <a:endParaRPr lang="en-US" dirty="0"/>
          </a:p>
        </p:txBody>
      </p:sp>
      <p:graphicFrame>
        <p:nvGraphicFramePr>
          <p:cNvPr id="3" name="Diagram 2">
            <a:extLst>
              <a:ext uri="{FF2B5EF4-FFF2-40B4-BE49-F238E27FC236}">
                <a16:creationId xmlns:a16="http://schemas.microsoft.com/office/drawing/2014/main" id="{1E75F4A2-A885-4280-AB7A-7E54708A6695}"/>
              </a:ext>
            </a:extLst>
          </p:cNvPr>
          <p:cNvGraphicFramePr/>
          <p:nvPr>
            <p:extLst>
              <p:ext uri="{D42A27DB-BD31-4B8C-83A1-F6EECF244321}">
                <p14:modId xmlns:p14="http://schemas.microsoft.com/office/powerpoint/2010/main" val="329030004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5530288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a:t>
            </a:r>
            <a:endParaRPr lang="en-US" sz="3920" dirty="0"/>
          </a:p>
        </p:txBody>
      </p:sp>
      <p:graphicFrame>
        <p:nvGraphicFramePr>
          <p:cNvPr id="9" name="Content Placeholder 8">
            <a:extLst>
              <a:ext uri="{FF2B5EF4-FFF2-40B4-BE49-F238E27FC236}">
                <a16:creationId xmlns:a16="http://schemas.microsoft.com/office/drawing/2014/main" id="{1576B546-E8B0-434D-AF25-423F98135999}"/>
              </a:ext>
            </a:extLst>
          </p:cNvPr>
          <p:cNvGraphicFramePr>
            <a:graphicFrameLocks noGrp="1"/>
          </p:cNvGraphicFramePr>
          <p:nvPr>
            <p:ph sz="quarter" idx="13"/>
          </p:nvPr>
        </p:nvGraphicFramePr>
        <p:xfrm>
          <a:off x="656410" y="2819486"/>
          <a:ext cx="10879183" cy="34078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Content Placeholder 6">
            <a:extLst>
              <a:ext uri="{FF2B5EF4-FFF2-40B4-BE49-F238E27FC236}">
                <a16:creationId xmlns:a16="http://schemas.microsoft.com/office/drawing/2014/main" id="{17F81A71-69B5-4907-9E9D-782AF28A6501}"/>
              </a:ext>
            </a:extLst>
          </p:cNvPr>
          <p:cNvGraphicFramePr>
            <a:graphicFrameLocks/>
          </p:cNvGraphicFramePr>
          <p:nvPr/>
        </p:nvGraphicFramePr>
        <p:xfrm>
          <a:off x="656410" y="1408400"/>
          <a:ext cx="10879182" cy="125870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8874509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lways Encrypted?</a:t>
            </a:r>
          </a:p>
        </p:txBody>
      </p:sp>
      <p:graphicFrame>
        <p:nvGraphicFramePr>
          <p:cNvPr id="15" name="Content Placeholder 14">
            <a:extLst>
              <a:ext uri="{FF2B5EF4-FFF2-40B4-BE49-F238E27FC236}">
                <a16:creationId xmlns:a16="http://schemas.microsoft.com/office/drawing/2014/main" id="{C0ED1C58-9A13-47FA-90C8-0A5C8C1840C7}"/>
              </a:ext>
            </a:extLst>
          </p:cNvPr>
          <p:cNvGraphicFramePr>
            <a:graphicFrameLocks noGrp="1"/>
          </p:cNvGraphicFramePr>
          <p:nvPr>
            <p:ph sz="quarter" idx="13"/>
            <p:extLst>
              <p:ext uri="{D42A27DB-BD31-4B8C-83A1-F6EECF244321}">
                <p14:modId xmlns:p14="http://schemas.microsoft.com/office/powerpoint/2010/main" val="783180141"/>
              </p:ext>
            </p:extLst>
          </p:nvPr>
        </p:nvGraphicFramePr>
        <p:xfrm>
          <a:off x="656411" y="1408400"/>
          <a:ext cx="5451787" cy="48189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8" name="Rectangle 74">
            <a:extLst>
              <a:ext uri="{FF2B5EF4-FFF2-40B4-BE49-F238E27FC236}">
                <a16:creationId xmlns:a16="http://schemas.microsoft.com/office/drawing/2014/main" id="{BD8890BF-6A80-4901-94B0-3B72FD620DBD}"/>
              </a:ext>
            </a:extLst>
          </p:cNvPr>
          <p:cNvSpPr/>
          <p:nvPr>
            <p:custDataLst>
              <p:tags r:id="rId1"/>
            </p:custDataLst>
          </p:nvPr>
        </p:nvSpPr>
        <p:spPr>
          <a:xfrm>
            <a:off x="7157597" y="4698756"/>
            <a:ext cx="385183" cy="537067"/>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165"/>
            <a:endParaRPr lang="en-US" sz="1729" dirty="0">
              <a:solidFill>
                <a:srgbClr val="FFFFFF"/>
              </a:solidFill>
            </a:endParaRPr>
          </a:p>
        </p:txBody>
      </p:sp>
      <p:sp>
        <p:nvSpPr>
          <p:cNvPr id="49" name="Rectangle 74">
            <a:extLst>
              <a:ext uri="{FF2B5EF4-FFF2-40B4-BE49-F238E27FC236}">
                <a16:creationId xmlns:a16="http://schemas.microsoft.com/office/drawing/2014/main" id="{1ACCC861-F6D9-46C1-98D5-BD9DCB9D5924}"/>
              </a:ext>
            </a:extLst>
          </p:cNvPr>
          <p:cNvSpPr/>
          <p:nvPr>
            <p:custDataLst>
              <p:tags r:id="rId2"/>
            </p:custDataLst>
          </p:nvPr>
        </p:nvSpPr>
        <p:spPr>
          <a:xfrm>
            <a:off x="11237986" y="4698756"/>
            <a:ext cx="385183" cy="537067"/>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165"/>
            <a:endParaRPr lang="en-US" sz="1729" dirty="0">
              <a:solidFill>
                <a:srgbClr val="FFFFFF"/>
              </a:solidFill>
            </a:endParaRPr>
          </a:p>
        </p:txBody>
      </p:sp>
      <p:pic>
        <p:nvPicPr>
          <p:cNvPr id="4" name="Picture 3">
            <a:extLst>
              <a:ext uri="{FF2B5EF4-FFF2-40B4-BE49-F238E27FC236}">
                <a16:creationId xmlns:a16="http://schemas.microsoft.com/office/drawing/2014/main" id="{E74D4B1C-296B-4098-9864-A37D49076BF1}"/>
              </a:ext>
            </a:extLst>
          </p:cNvPr>
          <p:cNvPicPr>
            <a:picLocks noChangeAspect="1"/>
          </p:cNvPicPr>
          <p:nvPr/>
        </p:nvPicPr>
        <p:blipFill>
          <a:blip r:embed="rId10"/>
          <a:stretch>
            <a:fillRect/>
          </a:stretch>
        </p:blipFill>
        <p:spPr>
          <a:xfrm>
            <a:off x="6333086" y="1411016"/>
            <a:ext cx="5365569" cy="494182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1212594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Diagram 33">
            <a:extLst>
              <a:ext uri="{FF2B5EF4-FFF2-40B4-BE49-F238E27FC236}">
                <a16:creationId xmlns:a16="http://schemas.microsoft.com/office/drawing/2014/main" id="{3C0FDA16-CE45-497F-A085-377DD192A04D}"/>
              </a:ext>
            </a:extLst>
          </p:cNvPr>
          <p:cNvGraphicFramePr/>
          <p:nvPr/>
        </p:nvGraphicFramePr>
        <p:xfrm>
          <a:off x="656408" y="1367539"/>
          <a:ext cx="10879182" cy="12670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itle 1"/>
          <p:cNvSpPr>
            <a:spLocks noGrp="1"/>
          </p:cNvSpPr>
          <p:nvPr>
            <p:ph type="title"/>
          </p:nvPr>
        </p:nvSpPr>
        <p:spPr/>
        <p:txBody>
          <a:bodyPr/>
          <a:lstStyle/>
          <a:p>
            <a:r>
              <a:rPr lang="en-US" dirty="0">
                <a:solidFill>
                  <a:schemeClr val="tx1"/>
                </a:solidFill>
              </a:rPr>
              <a:t>How does Always Encrypted work?</a:t>
            </a:r>
            <a:endParaRPr lang="en-US" sz="3920" dirty="0">
              <a:solidFill>
                <a:schemeClr val="tx1"/>
              </a:solidFill>
            </a:endParaRPr>
          </a:p>
        </p:txBody>
      </p:sp>
      <p:sp>
        <p:nvSpPr>
          <p:cNvPr id="4" name="Text Placeholder 6">
            <a:extLst>
              <a:ext uri="{FF2B5EF4-FFF2-40B4-BE49-F238E27FC236}">
                <a16:creationId xmlns:a16="http://schemas.microsoft.com/office/drawing/2014/main" id="{7A86A046-11FA-4CE3-9DF4-42534B701C1C}"/>
              </a:ext>
            </a:extLst>
          </p:cNvPr>
          <p:cNvSpPr txBox="1">
            <a:spLocks/>
          </p:cNvSpPr>
          <p:nvPr/>
        </p:nvSpPr>
        <p:spPr>
          <a:xfrm>
            <a:off x="656408" y="2701189"/>
            <a:ext cx="10879182" cy="3567042"/>
          </a:xfrm>
          <a:prstGeom prst="rect">
            <a:avLst/>
          </a:prstGeom>
          <a:solidFill>
            <a:schemeClr val="bg1">
              <a:lumMod val="95000"/>
            </a:schemeClr>
          </a:solidFill>
          <a:ln w="63500" cap="sq">
            <a:noFill/>
          </a:ln>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181">
              <a:buNone/>
            </a:pPr>
            <a:endParaRPr lang="en-US" sz="3843" dirty="0"/>
          </a:p>
        </p:txBody>
      </p:sp>
      <p:sp>
        <p:nvSpPr>
          <p:cNvPr id="8" name="Rectangle 7">
            <a:extLst>
              <a:ext uri="{FF2B5EF4-FFF2-40B4-BE49-F238E27FC236}">
                <a16:creationId xmlns:a16="http://schemas.microsoft.com/office/drawing/2014/main" id="{FED24893-34AD-424F-8AF9-212A53047DE7}"/>
              </a:ext>
            </a:extLst>
          </p:cNvPr>
          <p:cNvSpPr/>
          <p:nvPr/>
        </p:nvSpPr>
        <p:spPr>
          <a:xfrm>
            <a:off x="663750" y="3014226"/>
            <a:ext cx="4323890" cy="706039"/>
          </a:xfrm>
          <a:prstGeom prst="rect">
            <a:avLst/>
          </a:prstGeom>
          <a:ln>
            <a:noFill/>
          </a:ln>
        </p:spPr>
        <p:txBody>
          <a:bodyPr wrap="square">
            <a:spAutoFit/>
          </a:bodyPr>
          <a:lstStyle/>
          <a:p>
            <a:pPr defTabSz="878559"/>
            <a:r>
              <a:rPr lang="en-US" sz="2000" kern="0" dirty="0">
                <a:latin typeface="Consolas" panose="020B0609020204030204" pitchFamily="49" charset="0"/>
              </a:rPr>
              <a:t>SELECT Name FROM Customers WHERE SSN = "111-22-3333"</a:t>
            </a:r>
          </a:p>
        </p:txBody>
      </p:sp>
      <p:cxnSp>
        <p:nvCxnSpPr>
          <p:cNvPr id="9" name="Straight Arrow Connector 8">
            <a:extLst>
              <a:ext uri="{FF2B5EF4-FFF2-40B4-BE49-F238E27FC236}">
                <a16:creationId xmlns:a16="http://schemas.microsoft.com/office/drawing/2014/main" id="{7390016A-7D86-4E24-ACBA-58404CED4C65}"/>
              </a:ext>
            </a:extLst>
          </p:cNvPr>
          <p:cNvCxnSpPr/>
          <p:nvPr/>
        </p:nvCxnSpPr>
        <p:spPr>
          <a:xfrm>
            <a:off x="4785712" y="3525261"/>
            <a:ext cx="383166" cy="0"/>
          </a:xfrm>
          <a:prstGeom prst="straightConnector1">
            <a:avLst/>
          </a:prstGeom>
          <a:ln w="762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7B37AD38-188E-44FD-BC70-F16EEC983A89}"/>
              </a:ext>
            </a:extLst>
          </p:cNvPr>
          <p:cNvSpPr/>
          <p:nvPr/>
        </p:nvSpPr>
        <p:spPr>
          <a:xfrm>
            <a:off x="5239144" y="3014224"/>
            <a:ext cx="1154100" cy="2919033"/>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8559"/>
            <a:endParaRPr lang="en-US" sz="1765" kern="0" dirty="0">
              <a:solidFill>
                <a:schemeClr val="tx1">
                  <a:lumMod val="50000"/>
                </a:schemeClr>
              </a:solidFill>
              <a:latin typeface="Segoe UI Light" panose="020B0502040204020203" pitchFamily="34" charset="0"/>
              <a:cs typeface="Segoe UI Light" panose="020B0502040204020203" pitchFamily="34" charset="0"/>
            </a:endParaRPr>
          </a:p>
          <a:p>
            <a:pPr algn="ctr" defTabSz="878559"/>
            <a:r>
              <a:rPr lang="en-US" b="1" kern="0" dirty="0">
                <a:latin typeface="Segoe UI Light" panose="020B0502040204020203" pitchFamily="34" charset="0"/>
                <a:cs typeface="Segoe UI Light" panose="020B0502040204020203" pitchFamily="34" charset="0"/>
              </a:rPr>
              <a:t>ADO.NET</a:t>
            </a:r>
          </a:p>
        </p:txBody>
      </p:sp>
      <p:cxnSp>
        <p:nvCxnSpPr>
          <p:cNvPr id="11" name="Straight Arrow Connector 10">
            <a:extLst>
              <a:ext uri="{FF2B5EF4-FFF2-40B4-BE49-F238E27FC236}">
                <a16:creationId xmlns:a16="http://schemas.microsoft.com/office/drawing/2014/main" id="{679DFCA2-1AE0-40C9-B53A-373F483D88CE}"/>
              </a:ext>
            </a:extLst>
          </p:cNvPr>
          <p:cNvCxnSpPr/>
          <p:nvPr/>
        </p:nvCxnSpPr>
        <p:spPr>
          <a:xfrm>
            <a:off x="6654817" y="3525261"/>
            <a:ext cx="383166" cy="0"/>
          </a:xfrm>
          <a:prstGeom prst="straightConnector1">
            <a:avLst/>
          </a:prstGeom>
          <a:ln w="762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BEBE725C-24D0-4988-8339-32C7F09025FE}"/>
              </a:ext>
            </a:extLst>
          </p:cNvPr>
          <p:cNvGrpSpPr/>
          <p:nvPr/>
        </p:nvGrpSpPr>
        <p:grpSpPr>
          <a:xfrm>
            <a:off x="7193809" y="2931565"/>
            <a:ext cx="4424398" cy="1113993"/>
            <a:chOff x="7300106" y="3285549"/>
            <a:chExt cx="5828454" cy="810917"/>
          </a:xfrm>
        </p:grpSpPr>
        <p:sp>
          <p:nvSpPr>
            <p:cNvPr id="13" name="Rectangle 12">
              <a:extLst>
                <a:ext uri="{FF2B5EF4-FFF2-40B4-BE49-F238E27FC236}">
                  <a16:creationId xmlns:a16="http://schemas.microsoft.com/office/drawing/2014/main" id="{3FC31930-DA35-4902-B7B1-0422CA832E7E}"/>
                </a:ext>
              </a:extLst>
            </p:cNvPr>
            <p:cNvSpPr/>
            <p:nvPr/>
          </p:nvSpPr>
          <p:spPr>
            <a:xfrm>
              <a:off x="7300106" y="3285549"/>
              <a:ext cx="5828454" cy="513952"/>
            </a:xfrm>
            <a:prstGeom prst="rect">
              <a:avLst/>
            </a:prstGeom>
            <a:noFill/>
          </p:spPr>
          <p:txBody>
            <a:bodyPr wrap="square">
              <a:spAutoFit/>
            </a:bodyPr>
            <a:lstStyle/>
            <a:p>
              <a:pPr defTabSz="878559"/>
              <a:r>
                <a:rPr lang="en-US" sz="2000" kern="0" dirty="0">
                  <a:latin typeface="Consolas" panose="020B0609020204030204" pitchFamily="49" charset="0"/>
                </a:rPr>
                <a:t>SELECT Name FROM Customers WHERE SSN = 0x7ff654ae6d</a:t>
              </a:r>
            </a:p>
          </p:txBody>
        </p:sp>
        <p:sp>
          <p:nvSpPr>
            <p:cNvPr id="14" name="TextBox 13">
              <a:extLst>
                <a:ext uri="{FF2B5EF4-FFF2-40B4-BE49-F238E27FC236}">
                  <a16:creationId xmlns:a16="http://schemas.microsoft.com/office/drawing/2014/main" id="{C5C0B2B9-115A-4A40-8E19-A09AB33E894C}"/>
                </a:ext>
              </a:extLst>
            </p:cNvPr>
            <p:cNvSpPr txBox="1"/>
            <p:nvPr/>
          </p:nvSpPr>
          <p:spPr>
            <a:xfrm>
              <a:off x="9867239" y="3711268"/>
              <a:ext cx="2481362" cy="385198"/>
            </a:xfrm>
            <a:prstGeom prst="rect">
              <a:avLst/>
            </a:prstGeom>
            <a:noFill/>
          </p:spPr>
          <p:txBody>
            <a:bodyPr wrap="square" lIns="179234" tIns="143388" rIns="179234" bIns="143388" rtlCol="0">
              <a:spAutoFit/>
            </a:bodyPr>
            <a:lstStyle/>
            <a:p>
              <a:pPr marL="0" lvl="1" defTabSz="878559">
                <a:lnSpc>
                  <a:spcPct val="90000"/>
                </a:lnSpc>
                <a:spcAft>
                  <a:spcPts val="588"/>
                </a:spcAft>
              </a:pPr>
              <a:r>
                <a:rPr lang="en-US" sz="1729" i="1" kern="0" dirty="0">
                  <a:solidFill>
                    <a:schemeClr val="tx1">
                      <a:lumMod val="50000"/>
                    </a:schemeClr>
                  </a:solidFill>
                  <a:latin typeface="+mj-lt"/>
                </a:rPr>
                <a:t>Ciphertext</a:t>
              </a:r>
            </a:p>
          </p:txBody>
        </p:sp>
      </p:grpSp>
      <p:grpSp>
        <p:nvGrpSpPr>
          <p:cNvPr id="3" name="Group 2">
            <a:extLst>
              <a:ext uri="{FF2B5EF4-FFF2-40B4-BE49-F238E27FC236}">
                <a16:creationId xmlns:a16="http://schemas.microsoft.com/office/drawing/2014/main" id="{CB592B45-CD56-4E91-B83B-4A9F0529EED1}"/>
              </a:ext>
            </a:extLst>
          </p:cNvPr>
          <p:cNvGrpSpPr/>
          <p:nvPr/>
        </p:nvGrpSpPr>
        <p:grpSpPr>
          <a:xfrm>
            <a:off x="10340849" y="3926438"/>
            <a:ext cx="998365" cy="1047316"/>
            <a:chOff x="10548204" y="4004674"/>
            <a:chExt cx="1018384" cy="1068317"/>
          </a:xfrm>
        </p:grpSpPr>
        <p:grpSp>
          <p:nvGrpSpPr>
            <p:cNvPr id="5" name="Group 4">
              <a:extLst>
                <a:ext uri="{FF2B5EF4-FFF2-40B4-BE49-F238E27FC236}">
                  <a16:creationId xmlns:a16="http://schemas.microsoft.com/office/drawing/2014/main" id="{194C49B5-0AB4-4CA3-BBF8-C0DE64291837}"/>
                </a:ext>
              </a:extLst>
            </p:cNvPr>
            <p:cNvGrpSpPr>
              <a:grpSpLocks noChangeAspect="1"/>
            </p:cNvGrpSpPr>
            <p:nvPr/>
          </p:nvGrpSpPr>
          <p:grpSpPr>
            <a:xfrm>
              <a:off x="11006350" y="4345462"/>
              <a:ext cx="560238" cy="727526"/>
              <a:chOff x="7716230" y="2584442"/>
              <a:chExt cx="822843" cy="1068544"/>
            </a:xfrm>
            <a:solidFill>
              <a:schemeClr val="tx1">
                <a:lumMod val="85000"/>
              </a:schemeClr>
            </a:solidFill>
          </p:grpSpPr>
          <p:sp>
            <p:nvSpPr>
              <p:cNvPr id="6" name="Oval 5">
                <a:extLst>
                  <a:ext uri="{FF2B5EF4-FFF2-40B4-BE49-F238E27FC236}">
                    <a16:creationId xmlns:a16="http://schemas.microsoft.com/office/drawing/2014/main" id="{5690B403-A2F8-40E8-AE61-009A581D62CD}"/>
                  </a:ext>
                </a:extLst>
              </p:cNvPr>
              <p:cNvSpPr>
                <a:spLocks noChangeArrowheads="1"/>
              </p:cNvSpPr>
              <p:nvPr/>
            </p:nvSpPr>
            <p:spPr bwMode="auto">
              <a:xfrm>
                <a:off x="7730307" y="2584442"/>
                <a:ext cx="794690" cy="151004"/>
              </a:xfrm>
              <a:prstGeom prst="ellipse">
                <a:avLst/>
              </a:prstGeom>
              <a:grpFill/>
              <a:ln>
                <a:noFill/>
              </a:ln>
            </p:spPr>
            <p:txBody>
              <a:bodyPr vert="horz" wrap="square" lIns="87818" tIns="43909" rIns="87818" bIns="43909" numCol="1" anchor="t" anchorCtr="0" compatLnSpc="1">
                <a:prstTxWarp prst="textNoShape">
                  <a:avLst/>
                </a:prstTxWarp>
              </a:bodyPr>
              <a:lstStyle/>
              <a:p>
                <a:pPr defTabSz="895526">
                  <a:defRPr/>
                </a:pPr>
                <a:endParaRPr lang="en-US" sz="1729" kern="0" dirty="0">
                  <a:solidFill>
                    <a:schemeClr val="bg1"/>
                  </a:solidFill>
                  <a:latin typeface="Segoe UI"/>
                </a:endParaRPr>
              </a:p>
            </p:txBody>
          </p:sp>
          <p:sp>
            <p:nvSpPr>
              <p:cNvPr id="7" name="Freeform 123">
                <a:extLst>
                  <a:ext uri="{FF2B5EF4-FFF2-40B4-BE49-F238E27FC236}">
                    <a16:creationId xmlns:a16="http://schemas.microsoft.com/office/drawing/2014/main" id="{3FF8C9CF-9FE5-431A-AEB7-1D07A016BC9D}"/>
                  </a:ext>
                </a:extLst>
              </p:cNvPr>
              <p:cNvSpPr>
                <a:spLocks noEditPoints="1"/>
              </p:cNvSpPr>
              <p:nvPr/>
            </p:nvSpPr>
            <p:spPr bwMode="auto">
              <a:xfrm>
                <a:off x="7716230" y="2689379"/>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p:spPr>
            <p:txBody>
              <a:bodyPr vert="horz" wrap="square" lIns="87818" tIns="43909" rIns="87818" bIns="43909" numCol="1" anchor="t" anchorCtr="0" compatLnSpc="1">
                <a:prstTxWarp prst="textNoShape">
                  <a:avLst/>
                </a:prstTxWarp>
              </a:bodyPr>
              <a:lstStyle/>
              <a:p>
                <a:pPr defTabSz="895526">
                  <a:defRPr/>
                </a:pPr>
                <a:endParaRPr lang="en-US" sz="1729" kern="0" dirty="0">
                  <a:solidFill>
                    <a:schemeClr val="bg1"/>
                  </a:solidFill>
                  <a:latin typeface="Segoe UI"/>
                </a:endParaRPr>
              </a:p>
            </p:txBody>
          </p:sp>
        </p:grpSp>
        <p:sp>
          <p:nvSpPr>
            <p:cNvPr id="15" name="Freeform 95">
              <a:extLst>
                <a:ext uri="{FF2B5EF4-FFF2-40B4-BE49-F238E27FC236}">
                  <a16:creationId xmlns:a16="http://schemas.microsoft.com/office/drawing/2014/main" id="{F1E02D8B-5C37-4B89-8467-27CEF98AE474}"/>
                </a:ext>
              </a:extLst>
            </p:cNvPr>
            <p:cNvSpPr>
              <a:spLocks noEditPoints="1"/>
            </p:cNvSpPr>
            <p:nvPr/>
          </p:nvSpPr>
          <p:spPr bwMode="black">
            <a:xfrm>
              <a:off x="10548204" y="4004674"/>
              <a:ext cx="529905" cy="106831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7851" tIns="43925" rIns="87851" bIns="43925" numCol="1" rtlCol="0" anchor="ctr" anchorCtr="0" compatLnSpc="1">
              <a:prstTxWarp prst="textNoShape">
                <a:avLst/>
              </a:prstTxWarp>
            </a:bodyPr>
            <a:lstStyle/>
            <a:p>
              <a:pPr defTabSz="711568"/>
              <a:endParaRPr lang="en-US" sz="1729" kern="0" spc="-118" dirty="0">
                <a:solidFill>
                  <a:schemeClr val="bg1"/>
                </a:solidFill>
                <a:latin typeface="Segoe Light" pitchFamily="34" charset="0"/>
              </a:endParaRPr>
            </a:p>
          </p:txBody>
        </p:sp>
        <p:sp>
          <p:nvSpPr>
            <p:cNvPr id="17" name="Oval 16">
              <a:extLst>
                <a:ext uri="{FF2B5EF4-FFF2-40B4-BE49-F238E27FC236}">
                  <a16:creationId xmlns:a16="http://schemas.microsoft.com/office/drawing/2014/main" id="{28747189-A534-4119-9DDE-8293A156A377}"/>
                </a:ext>
              </a:extLst>
            </p:cNvPr>
            <p:cNvSpPr/>
            <p:nvPr/>
          </p:nvSpPr>
          <p:spPr bwMode="auto">
            <a:xfrm>
              <a:off x="10939450" y="4703988"/>
              <a:ext cx="220793" cy="334451"/>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marL="329460" indent="-329460" algn="ctr" defTabSz="895922" fontAlgn="base">
                <a:lnSpc>
                  <a:spcPct val="90000"/>
                </a:lnSpc>
                <a:spcBef>
                  <a:spcPct val="0"/>
                </a:spcBef>
                <a:spcAft>
                  <a:spcPct val="0"/>
                </a:spcAft>
                <a:buFont typeface="Wingdings 3" panose="05040102010807070707" pitchFamily="18" charset="2"/>
                <a:buChar char="Æ"/>
              </a:pPr>
              <a:endParaRPr lang="en-US" sz="1921" b="1" kern="0" dirty="0">
                <a:solidFill>
                  <a:schemeClr val="bg1"/>
                </a:solidFill>
                <a:latin typeface="+mj-lt"/>
                <a:ea typeface="Segoe UI" pitchFamily="34" charset="0"/>
                <a:cs typeface="Segoe UI" pitchFamily="34" charset="0"/>
              </a:endParaRPr>
            </a:p>
          </p:txBody>
        </p:sp>
        <p:sp>
          <p:nvSpPr>
            <p:cNvPr id="18" name="Rectangle 74">
              <a:extLst>
                <a:ext uri="{FF2B5EF4-FFF2-40B4-BE49-F238E27FC236}">
                  <a16:creationId xmlns:a16="http://schemas.microsoft.com/office/drawing/2014/main" id="{5ED05B56-6467-4F0C-8509-C365CED9ABA5}"/>
                </a:ext>
              </a:extLst>
            </p:cNvPr>
            <p:cNvSpPr/>
            <p:nvPr>
              <p:custDataLst>
                <p:tags r:id="rId1"/>
              </p:custDataLst>
            </p:nvPr>
          </p:nvSpPr>
          <p:spPr>
            <a:xfrm>
              <a:off x="10779337" y="4416952"/>
              <a:ext cx="510471" cy="656037"/>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C000"/>
            </a:solidFill>
            <a:ln w="6350">
              <a:solidFill>
                <a:srgbClr val="107C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165"/>
              <a:endParaRPr lang="en-US" sz="1729" kern="0" dirty="0">
                <a:solidFill>
                  <a:srgbClr val="FFFFFF"/>
                </a:solidFill>
              </a:endParaRPr>
            </a:p>
          </p:txBody>
        </p:sp>
      </p:grpSp>
      <p:graphicFrame>
        <p:nvGraphicFramePr>
          <p:cNvPr id="19" name="Table 18">
            <a:extLst>
              <a:ext uri="{FF2B5EF4-FFF2-40B4-BE49-F238E27FC236}">
                <a16:creationId xmlns:a16="http://schemas.microsoft.com/office/drawing/2014/main" id="{78D951B0-1D26-4457-89C3-50B0F3AB64B0}"/>
              </a:ext>
            </a:extLst>
          </p:cNvPr>
          <p:cNvGraphicFramePr>
            <a:graphicFrameLocks noGrp="1"/>
          </p:cNvGraphicFramePr>
          <p:nvPr/>
        </p:nvGraphicFramePr>
        <p:xfrm>
          <a:off x="6709838" y="5266425"/>
          <a:ext cx="4977754" cy="666912"/>
        </p:xfrm>
        <a:graphic>
          <a:graphicData uri="http://schemas.openxmlformats.org/drawingml/2006/table">
            <a:tbl>
              <a:tblPr firstRow="1">
                <a:tableStyleId>{1FECB4D8-DB02-4DC6-A0A2-4F2EBAE1DC90}</a:tableStyleId>
              </a:tblPr>
              <a:tblGrid>
                <a:gridCol w="1701597">
                  <a:extLst>
                    <a:ext uri="{9D8B030D-6E8A-4147-A177-3AD203B41FA5}">
                      <a16:colId xmlns:a16="http://schemas.microsoft.com/office/drawing/2014/main" val="20000"/>
                    </a:ext>
                  </a:extLst>
                </a:gridCol>
                <a:gridCol w="1493829">
                  <a:extLst>
                    <a:ext uri="{9D8B030D-6E8A-4147-A177-3AD203B41FA5}">
                      <a16:colId xmlns:a16="http://schemas.microsoft.com/office/drawing/2014/main" val="20001"/>
                    </a:ext>
                  </a:extLst>
                </a:gridCol>
                <a:gridCol w="1782328">
                  <a:extLst>
                    <a:ext uri="{9D8B030D-6E8A-4147-A177-3AD203B41FA5}">
                      <a16:colId xmlns:a16="http://schemas.microsoft.com/office/drawing/2014/main" val="20002"/>
                    </a:ext>
                  </a:extLst>
                </a:gridCol>
              </a:tblGrid>
              <a:tr h="333420">
                <a:tc>
                  <a:txBody>
                    <a:bodyPr/>
                    <a:lstStyle/>
                    <a:p>
                      <a:r>
                        <a:rPr lang="en-US" sz="1600" dirty="0"/>
                        <a:t>Name</a:t>
                      </a:r>
                      <a:endParaRPr lang="en-US" sz="1600" b="0" dirty="0">
                        <a:solidFill>
                          <a:schemeClr val="bg1"/>
                        </a:solidFill>
                        <a:latin typeface="Segoe UI Semibold" panose="020B0702040204020203" pitchFamily="34" charset="0"/>
                        <a:cs typeface="Segoe UI Semibold" panose="020B0702040204020203" pitchFamily="34" charset="0"/>
                      </a:endParaRPr>
                    </a:p>
                  </a:txBody>
                  <a:tcPr marL="89617" marR="89617" marT="44808" marB="448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SSN</a:t>
                      </a:r>
                      <a:endParaRPr lang="en-US" sz="1600" b="0" dirty="0">
                        <a:solidFill>
                          <a:schemeClr val="bg1"/>
                        </a:solidFill>
                        <a:latin typeface="Segoe UI Semibold" panose="020B0702040204020203" pitchFamily="34" charset="0"/>
                        <a:cs typeface="Segoe UI Semibold" panose="020B0702040204020203" pitchFamily="34" charset="0"/>
                      </a:endParaRPr>
                    </a:p>
                  </a:txBody>
                  <a:tcPr marL="89617" marR="89617" marT="44808" marB="448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Country/Region</a:t>
                      </a:r>
                      <a:endParaRPr lang="en-US" sz="1600" b="0" dirty="0">
                        <a:solidFill>
                          <a:schemeClr val="bg1"/>
                        </a:solidFill>
                        <a:latin typeface="Segoe UI Semibold" panose="020B0702040204020203" pitchFamily="34" charset="0"/>
                        <a:cs typeface="Segoe UI Semibold" panose="020B0702040204020203" pitchFamily="34" charset="0"/>
                      </a:endParaRPr>
                    </a:p>
                  </a:txBody>
                  <a:tcPr marL="89617" marR="89617" marT="44808" marB="448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33420">
                <a:tc>
                  <a:txBody>
                    <a:bodyPr/>
                    <a:lstStyle/>
                    <a:p>
                      <a:r>
                        <a:rPr lang="en-US" sz="1600" dirty="0"/>
                        <a:t>0x19ca706fbd9a</a:t>
                      </a:r>
                      <a:endParaRPr lang="en-US" sz="1600" dirty="0">
                        <a:solidFill>
                          <a:schemeClr val="bg1"/>
                        </a:solidFill>
                        <a:latin typeface="+mj-lt"/>
                      </a:endParaRPr>
                    </a:p>
                  </a:txBody>
                  <a:tcPr marL="89617" marR="89617" marT="44808" marB="448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0x7ff654ae6d</a:t>
                      </a:r>
                      <a:endParaRPr lang="en-US" sz="1600" dirty="0">
                        <a:solidFill>
                          <a:schemeClr val="bg1"/>
                        </a:solidFill>
                        <a:latin typeface="+mj-lt"/>
                      </a:endParaRPr>
                    </a:p>
                  </a:txBody>
                  <a:tcPr marL="89617" marR="89617" marT="44808" marB="448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USA</a:t>
                      </a:r>
                      <a:endParaRPr lang="en-US" sz="1600" dirty="0">
                        <a:solidFill>
                          <a:schemeClr val="bg1"/>
                        </a:solidFill>
                        <a:latin typeface="+mj-lt"/>
                      </a:endParaRPr>
                    </a:p>
                  </a:txBody>
                  <a:tcPr marL="89617" marR="89617" marT="44808" marB="448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graphicFrame>
        <p:nvGraphicFramePr>
          <p:cNvPr id="20" name="Table 19">
            <a:extLst>
              <a:ext uri="{FF2B5EF4-FFF2-40B4-BE49-F238E27FC236}">
                <a16:creationId xmlns:a16="http://schemas.microsoft.com/office/drawing/2014/main" id="{592BF639-27F4-4049-A1DA-15EF2BA44F34}"/>
              </a:ext>
            </a:extLst>
          </p:cNvPr>
          <p:cNvGraphicFramePr>
            <a:graphicFrameLocks noGrp="1"/>
          </p:cNvGraphicFramePr>
          <p:nvPr/>
        </p:nvGraphicFramePr>
        <p:xfrm>
          <a:off x="7296986" y="4318293"/>
          <a:ext cx="2689543" cy="666912"/>
        </p:xfrm>
        <a:graphic>
          <a:graphicData uri="http://schemas.openxmlformats.org/drawingml/2006/table">
            <a:tbl>
              <a:tblPr firstRow="1">
                <a:tableStyleId>{1FECB4D8-DB02-4DC6-A0A2-4F2EBAE1DC90}</a:tableStyleId>
              </a:tblPr>
              <a:tblGrid>
                <a:gridCol w="2689543">
                  <a:extLst>
                    <a:ext uri="{9D8B030D-6E8A-4147-A177-3AD203B41FA5}">
                      <a16:colId xmlns:a16="http://schemas.microsoft.com/office/drawing/2014/main" val="20000"/>
                    </a:ext>
                  </a:extLst>
                </a:gridCol>
              </a:tblGrid>
              <a:tr h="333420">
                <a:tc>
                  <a:txBody>
                    <a:bodyPr/>
                    <a:lstStyle/>
                    <a:p>
                      <a:r>
                        <a:rPr lang="en-US" sz="1600" dirty="0"/>
                        <a:t>Name</a:t>
                      </a:r>
                      <a:endParaRPr lang="en-US" sz="1600" b="0" dirty="0">
                        <a:solidFill>
                          <a:schemeClr val="bg1"/>
                        </a:solidFill>
                        <a:latin typeface="Segoe UI Semibold" panose="020B0702040204020203" pitchFamily="34" charset="0"/>
                        <a:cs typeface="Segoe UI Semibold" panose="020B0702040204020203" pitchFamily="34" charset="0"/>
                      </a:endParaRPr>
                    </a:p>
                  </a:txBody>
                  <a:tcPr marL="89617" marR="89617" marT="44808" marB="448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33420">
                <a:tc>
                  <a:txBody>
                    <a:bodyPr/>
                    <a:lstStyle/>
                    <a:p>
                      <a:r>
                        <a:rPr lang="en-US" sz="1600" dirty="0"/>
                        <a:t>0x19ca706fbd9a</a:t>
                      </a:r>
                      <a:endParaRPr lang="en-US" sz="1600" dirty="0">
                        <a:solidFill>
                          <a:schemeClr val="bg1"/>
                        </a:solidFill>
                        <a:latin typeface="+mj-lt"/>
                      </a:endParaRPr>
                    </a:p>
                  </a:txBody>
                  <a:tcPr marL="89617" marR="89617" marT="44808" marB="448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cxnSp>
        <p:nvCxnSpPr>
          <p:cNvPr id="21" name="Straight Arrow Connector 20">
            <a:extLst>
              <a:ext uri="{FF2B5EF4-FFF2-40B4-BE49-F238E27FC236}">
                <a16:creationId xmlns:a16="http://schemas.microsoft.com/office/drawing/2014/main" id="{C4B55B66-AFD0-4E70-8B0D-B15134A9CBCD}"/>
              </a:ext>
            </a:extLst>
          </p:cNvPr>
          <p:cNvCxnSpPr/>
          <p:nvPr/>
        </p:nvCxnSpPr>
        <p:spPr>
          <a:xfrm flipH="1" flipV="1">
            <a:off x="6670962" y="4600455"/>
            <a:ext cx="383166" cy="14355"/>
          </a:xfrm>
          <a:prstGeom prst="straightConnector1">
            <a:avLst/>
          </a:prstGeom>
          <a:ln w="762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7D4FCEBF-7F1E-41A1-B0C2-71D60E53993E}"/>
              </a:ext>
            </a:extLst>
          </p:cNvPr>
          <p:cNvSpPr/>
          <p:nvPr/>
        </p:nvSpPr>
        <p:spPr bwMode="auto">
          <a:xfrm>
            <a:off x="7296984" y="3905293"/>
            <a:ext cx="1883610" cy="40959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b" anchorCtr="0" compatLnSpc="1">
            <a:prstTxWarp prst="textNoShape">
              <a:avLst/>
            </a:prstTxWarp>
          </a:bodyPr>
          <a:lstStyle/>
          <a:p>
            <a:pPr defTabSz="913751" fontAlgn="base">
              <a:spcBef>
                <a:spcPct val="0"/>
              </a:spcBef>
              <a:spcAft>
                <a:spcPct val="0"/>
              </a:spcAft>
            </a:pPr>
            <a:r>
              <a:rPr lang="en-US" sz="1765" kern="0" dirty="0">
                <a:solidFill>
                  <a:schemeClr val="tx1">
                    <a:lumMod val="50000"/>
                  </a:schemeClr>
                </a:solidFill>
                <a:latin typeface="+mj-lt"/>
                <a:cs typeface="Segoe UI Light" panose="020B0502040204020203" pitchFamily="34" charset="0"/>
              </a:rPr>
              <a:t>Result set</a:t>
            </a:r>
          </a:p>
        </p:txBody>
      </p:sp>
      <p:cxnSp>
        <p:nvCxnSpPr>
          <p:cNvPr id="23" name="Straight Arrow Connector 22">
            <a:extLst>
              <a:ext uri="{FF2B5EF4-FFF2-40B4-BE49-F238E27FC236}">
                <a16:creationId xmlns:a16="http://schemas.microsoft.com/office/drawing/2014/main" id="{02F6D6FD-98D9-4568-A7A7-9C1BE2CB239D}"/>
              </a:ext>
            </a:extLst>
          </p:cNvPr>
          <p:cNvCxnSpPr/>
          <p:nvPr/>
        </p:nvCxnSpPr>
        <p:spPr>
          <a:xfrm flipH="1" flipV="1">
            <a:off x="4724595" y="4600456"/>
            <a:ext cx="383166" cy="14355"/>
          </a:xfrm>
          <a:prstGeom prst="straightConnector1">
            <a:avLst/>
          </a:prstGeom>
          <a:ln w="762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466228D4-849B-403B-8E1B-43C59F1F7AAD}"/>
              </a:ext>
            </a:extLst>
          </p:cNvPr>
          <p:cNvSpPr/>
          <p:nvPr/>
        </p:nvSpPr>
        <p:spPr bwMode="auto">
          <a:xfrm>
            <a:off x="757196" y="4137209"/>
            <a:ext cx="2103470" cy="4582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b" anchorCtr="0" compatLnSpc="1">
            <a:prstTxWarp prst="textNoShape">
              <a:avLst/>
            </a:prstTxWarp>
          </a:bodyPr>
          <a:lstStyle/>
          <a:p>
            <a:pPr defTabSz="913751" fontAlgn="base">
              <a:spcBef>
                <a:spcPct val="0"/>
              </a:spcBef>
              <a:spcAft>
                <a:spcPct val="0"/>
              </a:spcAft>
            </a:pPr>
            <a:r>
              <a:rPr lang="en-US" sz="1765" kern="0" dirty="0">
                <a:solidFill>
                  <a:schemeClr val="tx1">
                    <a:lumMod val="50000"/>
                  </a:schemeClr>
                </a:solidFill>
                <a:latin typeface="+mj-lt"/>
                <a:cs typeface="Segoe UI Light" panose="020B0502040204020203" pitchFamily="34" charset="0"/>
              </a:rPr>
              <a:t>Result set</a:t>
            </a:r>
          </a:p>
        </p:txBody>
      </p:sp>
      <p:graphicFrame>
        <p:nvGraphicFramePr>
          <p:cNvPr id="25" name="Table 24">
            <a:extLst>
              <a:ext uri="{FF2B5EF4-FFF2-40B4-BE49-F238E27FC236}">
                <a16:creationId xmlns:a16="http://schemas.microsoft.com/office/drawing/2014/main" id="{43E97DD5-C506-453F-81C9-708D1E9BC35F}"/>
              </a:ext>
            </a:extLst>
          </p:cNvPr>
          <p:cNvGraphicFramePr>
            <a:graphicFrameLocks noGrp="1"/>
          </p:cNvGraphicFramePr>
          <p:nvPr/>
        </p:nvGraphicFramePr>
        <p:xfrm>
          <a:off x="757197" y="4615840"/>
          <a:ext cx="3676013" cy="666912"/>
        </p:xfrm>
        <a:graphic>
          <a:graphicData uri="http://schemas.openxmlformats.org/drawingml/2006/table">
            <a:tbl>
              <a:tblPr firstRow="1">
                <a:tableStyleId>{1FECB4D8-DB02-4DC6-A0A2-4F2EBAE1DC90}</a:tableStyleId>
              </a:tblPr>
              <a:tblGrid>
                <a:gridCol w="3676013">
                  <a:extLst>
                    <a:ext uri="{9D8B030D-6E8A-4147-A177-3AD203B41FA5}">
                      <a16:colId xmlns:a16="http://schemas.microsoft.com/office/drawing/2014/main" val="20000"/>
                    </a:ext>
                  </a:extLst>
                </a:gridCol>
              </a:tblGrid>
              <a:tr h="333420">
                <a:tc>
                  <a:txBody>
                    <a:bodyPr/>
                    <a:lstStyle/>
                    <a:p>
                      <a:r>
                        <a:rPr lang="en-US" sz="1600" dirty="0"/>
                        <a:t>Name</a:t>
                      </a:r>
                      <a:endParaRPr lang="en-US" sz="1600" b="0" dirty="0">
                        <a:solidFill>
                          <a:schemeClr val="bg1"/>
                        </a:solidFill>
                        <a:latin typeface="Segoe UI Semibold" panose="020B0702040204020203" pitchFamily="34" charset="0"/>
                        <a:cs typeface="Segoe UI Semibold" panose="020B0702040204020203" pitchFamily="34" charset="0"/>
                      </a:endParaRPr>
                    </a:p>
                  </a:txBody>
                  <a:tcPr marL="89617" marR="89617" marT="44808" marB="448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33420">
                <a:tc>
                  <a:txBody>
                    <a:bodyPr/>
                    <a:lstStyle/>
                    <a:p>
                      <a:r>
                        <a:rPr lang="en-US" sz="1600" dirty="0"/>
                        <a:t>Wayne Jefferson</a:t>
                      </a:r>
                      <a:endParaRPr lang="en-US" sz="1600" dirty="0">
                        <a:solidFill>
                          <a:schemeClr val="bg1"/>
                        </a:solidFill>
                        <a:latin typeface="+mj-lt"/>
                      </a:endParaRPr>
                    </a:p>
                  </a:txBody>
                  <a:tcPr marL="89617" marR="89617" marT="44808" marB="448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pSp>
        <p:nvGrpSpPr>
          <p:cNvPr id="26" name="Group 4">
            <a:extLst>
              <a:ext uri="{FF2B5EF4-FFF2-40B4-BE49-F238E27FC236}">
                <a16:creationId xmlns:a16="http://schemas.microsoft.com/office/drawing/2014/main" id="{03E177D0-8DFB-4C15-989B-9ED8D233DBC7}"/>
              </a:ext>
            </a:extLst>
          </p:cNvPr>
          <p:cNvGrpSpPr>
            <a:grpSpLocks noChangeAspect="1"/>
          </p:cNvGrpSpPr>
          <p:nvPr/>
        </p:nvGrpSpPr>
        <p:grpSpPr bwMode="auto">
          <a:xfrm>
            <a:off x="5662004" y="3407118"/>
            <a:ext cx="433996" cy="410106"/>
            <a:chOff x="4553" y="124"/>
            <a:chExt cx="654" cy="618"/>
          </a:xfrm>
        </p:grpSpPr>
        <p:sp>
          <p:nvSpPr>
            <p:cNvPr id="27" name="AutoShape 3">
              <a:extLst>
                <a:ext uri="{FF2B5EF4-FFF2-40B4-BE49-F238E27FC236}">
                  <a16:creationId xmlns:a16="http://schemas.microsoft.com/office/drawing/2014/main" id="{B5AB2C6F-C395-4DC1-A940-F6F058D0C7C4}"/>
                </a:ext>
              </a:extLst>
            </p:cNvPr>
            <p:cNvSpPr>
              <a:spLocks noChangeAspect="1" noChangeArrowheads="1" noTextEdit="1"/>
            </p:cNvSpPr>
            <p:nvPr/>
          </p:nvSpPr>
          <p:spPr bwMode="auto">
            <a:xfrm>
              <a:off x="4639" y="124"/>
              <a:ext cx="56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867" tIns="43934" rIns="87867" bIns="43934" numCol="1" anchor="t" anchorCtr="0" compatLnSpc="1">
              <a:prstTxWarp prst="textNoShape">
                <a:avLst/>
              </a:prstTxWarp>
            </a:bodyPr>
            <a:lstStyle/>
            <a:p>
              <a:pPr defTabSz="878559"/>
              <a:endParaRPr lang="en-US" sz="1729" kern="0" dirty="0">
                <a:solidFill>
                  <a:schemeClr val="accent3">
                    <a:lumMod val="75000"/>
                  </a:schemeClr>
                </a:solidFill>
              </a:endParaRPr>
            </a:p>
          </p:txBody>
        </p:sp>
        <p:sp>
          <p:nvSpPr>
            <p:cNvPr id="28" name="Freeform 9">
              <a:extLst>
                <a:ext uri="{FF2B5EF4-FFF2-40B4-BE49-F238E27FC236}">
                  <a16:creationId xmlns:a16="http://schemas.microsoft.com/office/drawing/2014/main" id="{06A364F0-75FC-49D0-9183-C03AB38A4456}"/>
                </a:ext>
              </a:extLst>
            </p:cNvPr>
            <p:cNvSpPr>
              <a:spLocks/>
            </p:cNvSpPr>
            <p:nvPr/>
          </p:nvSpPr>
          <p:spPr bwMode="auto">
            <a:xfrm>
              <a:off x="4553" y="437"/>
              <a:ext cx="335" cy="305"/>
            </a:xfrm>
            <a:custGeom>
              <a:avLst/>
              <a:gdLst>
                <a:gd name="T0" fmla="*/ 0 w 331"/>
                <a:gd name="T1" fmla="*/ 284 h 302"/>
                <a:gd name="T2" fmla="*/ 0 w 331"/>
                <a:gd name="T3" fmla="*/ 267 h 302"/>
                <a:gd name="T4" fmla="*/ 268 w 331"/>
                <a:gd name="T5" fmla="*/ 0 h 302"/>
                <a:gd name="T6" fmla="*/ 331 w 331"/>
                <a:gd name="T7" fmla="*/ 40 h 302"/>
                <a:gd name="T8" fmla="*/ 322 w 331"/>
                <a:gd name="T9" fmla="*/ 87 h 302"/>
                <a:gd name="T10" fmla="*/ 292 w 331"/>
                <a:gd name="T11" fmla="*/ 73 h 302"/>
                <a:gd name="T12" fmla="*/ 277 w 331"/>
                <a:gd name="T13" fmla="*/ 59 h 302"/>
                <a:gd name="T14" fmla="*/ 58 w 331"/>
                <a:gd name="T15" fmla="*/ 277 h 302"/>
                <a:gd name="T16" fmla="*/ 0 w 331"/>
                <a:gd name="T17" fmla="*/ 28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02">
                  <a:moveTo>
                    <a:pt x="0" y="284"/>
                  </a:moveTo>
                  <a:cubicBezTo>
                    <a:pt x="0" y="267"/>
                    <a:pt x="0" y="267"/>
                    <a:pt x="0" y="267"/>
                  </a:cubicBezTo>
                  <a:cubicBezTo>
                    <a:pt x="268" y="0"/>
                    <a:pt x="268" y="0"/>
                    <a:pt x="268" y="0"/>
                  </a:cubicBezTo>
                  <a:cubicBezTo>
                    <a:pt x="286" y="18"/>
                    <a:pt x="308" y="32"/>
                    <a:pt x="331" y="40"/>
                  </a:cubicBezTo>
                  <a:cubicBezTo>
                    <a:pt x="330" y="58"/>
                    <a:pt x="331" y="78"/>
                    <a:pt x="322" y="87"/>
                  </a:cubicBezTo>
                  <a:cubicBezTo>
                    <a:pt x="311" y="97"/>
                    <a:pt x="298" y="80"/>
                    <a:pt x="292" y="73"/>
                  </a:cubicBezTo>
                  <a:cubicBezTo>
                    <a:pt x="285" y="67"/>
                    <a:pt x="277" y="59"/>
                    <a:pt x="277" y="59"/>
                  </a:cubicBezTo>
                  <a:cubicBezTo>
                    <a:pt x="58" y="277"/>
                    <a:pt x="58" y="277"/>
                    <a:pt x="58" y="277"/>
                  </a:cubicBezTo>
                  <a:cubicBezTo>
                    <a:pt x="58" y="277"/>
                    <a:pt x="18" y="302"/>
                    <a:pt x="0" y="284"/>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59"/>
              <a:endParaRPr lang="en-US" sz="1729" kern="0" dirty="0">
                <a:solidFill>
                  <a:schemeClr val="accent3">
                    <a:lumMod val="75000"/>
                  </a:schemeClr>
                </a:solidFill>
              </a:endParaRPr>
            </a:p>
          </p:txBody>
        </p:sp>
        <p:sp>
          <p:nvSpPr>
            <p:cNvPr id="29" name="Freeform 10">
              <a:extLst>
                <a:ext uri="{FF2B5EF4-FFF2-40B4-BE49-F238E27FC236}">
                  <a16:creationId xmlns:a16="http://schemas.microsoft.com/office/drawing/2014/main" id="{702F1511-6D17-4868-9E8B-42F8051B4B6B}"/>
                </a:ext>
              </a:extLst>
            </p:cNvPr>
            <p:cNvSpPr>
              <a:spLocks/>
            </p:cNvSpPr>
            <p:nvPr/>
          </p:nvSpPr>
          <p:spPr bwMode="auto">
            <a:xfrm>
              <a:off x="4553" y="372"/>
              <a:ext cx="271" cy="335"/>
            </a:xfrm>
            <a:custGeom>
              <a:avLst/>
              <a:gdLst>
                <a:gd name="T0" fmla="*/ 0 w 268"/>
                <a:gd name="T1" fmla="*/ 331 h 331"/>
                <a:gd name="T2" fmla="*/ 0 w 268"/>
                <a:gd name="T3" fmla="*/ 262 h 331"/>
                <a:gd name="T4" fmla="*/ 25 w 268"/>
                <a:gd name="T5" fmla="*/ 236 h 331"/>
                <a:gd name="T6" fmla="*/ 64 w 268"/>
                <a:gd name="T7" fmla="*/ 238 h 331"/>
                <a:gd name="T8" fmla="*/ 59 w 268"/>
                <a:gd name="T9" fmla="*/ 174 h 331"/>
                <a:gd name="T10" fmla="*/ 80 w 268"/>
                <a:gd name="T11" fmla="*/ 152 h 331"/>
                <a:gd name="T12" fmla="*/ 132 w 268"/>
                <a:gd name="T13" fmla="*/ 150 h 331"/>
                <a:gd name="T14" fmla="*/ 135 w 268"/>
                <a:gd name="T15" fmla="*/ 98 h 331"/>
                <a:gd name="T16" fmla="*/ 174 w 268"/>
                <a:gd name="T17" fmla="*/ 98 h 331"/>
                <a:gd name="T18" fmla="*/ 213 w 268"/>
                <a:gd name="T19" fmla="*/ 59 h 331"/>
                <a:gd name="T20" fmla="*/ 194 w 268"/>
                <a:gd name="T21" fmla="*/ 40 h 331"/>
                <a:gd name="T22" fmla="*/ 181 w 268"/>
                <a:gd name="T23" fmla="*/ 10 h 331"/>
                <a:gd name="T24" fmla="*/ 227 w 268"/>
                <a:gd name="T25" fmla="*/ 0 h 331"/>
                <a:gd name="T26" fmla="*/ 268 w 268"/>
                <a:gd name="T27" fmla="*/ 64 h 331"/>
                <a:gd name="T28" fmla="*/ 0 w 268"/>
                <a:gd name="T29" fmla="*/ 33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331">
                  <a:moveTo>
                    <a:pt x="0" y="331"/>
                  </a:moveTo>
                  <a:cubicBezTo>
                    <a:pt x="0" y="262"/>
                    <a:pt x="0" y="262"/>
                    <a:pt x="0" y="262"/>
                  </a:cubicBezTo>
                  <a:cubicBezTo>
                    <a:pt x="25" y="236"/>
                    <a:pt x="25" y="236"/>
                    <a:pt x="25" y="236"/>
                  </a:cubicBezTo>
                  <a:cubicBezTo>
                    <a:pt x="64" y="238"/>
                    <a:pt x="64" y="238"/>
                    <a:pt x="64" y="238"/>
                  </a:cubicBezTo>
                  <a:cubicBezTo>
                    <a:pt x="59" y="174"/>
                    <a:pt x="59" y="174"/>
                    <a:pt x="59" y="174"/>
                  </a:cubicBezTo>
                  <a:cubicBezTo>
                    <a:pt x="80" y="152"/>
                    <a:pt x="80" y="152"/>
                    <a:pt x="80" y="152"/>
                  </a:cubicBezTo>
                  <a:cubicBezTo>
                    <a:pt x="132" y="150"/>
                    <a:pt x="132" y="150"/>
                    <a:pt x="132" y="150"/>
                  </a:cubicBezTo>
                  <a:cubicBezTo>
                    <a:pt x="135" y="98"/>
                    <a:pt x="135" y="98"/>
                    <a:pt x="135" y="98"/>
                  </a:cubicBezTo>
                  <a:cubicBezTo>
                    <a:pt x="174" y="98"/>
                    <a:pt x="174" y="98"/>
                    <a:pt x="174" y="98"/>
                  </a:cubicBezTo>
                  <a:cubicBezTo>
                    <a:pt x="213" y="59"/>
                    <a:pt x="213" y="59"/>
                    <a:pt x="213" y="59"/>
                  </a:cubicBezTo>
                  <a:cubicBezTo>
                    <a:pt x="213" y="59"/>
                    <a:pt x="200" y="46"/>
                    <a:pt x="194" y="40"/>
                  </a:cubicBezTo>
                  <a:cubicBezTo>
                    <a:pt x="188" y="33"/>
                    <a:pt x="170" y="20"/>
                    <a:pt x="181" y="10"/>
                  </a:cubicBezTo>
                  <a:cubicBezTo>
                    <a:pt x="189" y="1"/>
                    <a:pt x="209" y="1"/>
                    <a:pt x="227" y="0"/>
                  </a:cubicBezTo>
                  <a:cubicBezTo>
                    <a:pt x="236" y="23"/>
                    <a:pt x="249" y="45"/>
                    <a:pt x="268" y="64"/>
                  </a:cubicBezTo>
                  <a:lnTo>
                    <a:pt x="0" y="331"/>
                  </a:ln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59"/>
              <a:endParaRPr lang="en-US" sz="1729" kern="0" dirty="0">
                <a:solidFill>
                  <a:schemeClr val="accent3">
                    <a:lumMod val="75000"/>
                  </a:schemeClr>
                </a:solidFill>
              </a:endParaRPr>
            </a:p>
          </p:txBody>
        </p:sp>
        <p:sp>
          <p:nvSpPr>
            <p:cNvPr id="30" name="Freeform 11">
              <a:extLst>
                <a:ext uri="{FF2B5EF4-FFF2-40B4-BE49-F238E27FC236}">
                  <a16:creationId xmlns:a16="http://schemas.microsoft.com/office/drawing/2014/main" id="{3A3A85C4-E33A-4AA0-8048-59CF8482A51B}"/>
                </a:ext>
              </a:extLst>
            </p:cNvPr>
            <p:cNvSpPr>
              <a:spLocks/>
            </p:cNvSpPr>
            <p:nvPr/>
          </p:nvSpPr>
          <p:spPr bwMode="auto">
            <a:xfrm>
              <a:off x="4783" y="372"/>
              <a:ext cx="106" cy="105"/>
            </a:xfrm>
            <a:custGeom>
              <a:avLst/>
              <a:gdLst>
                <a:gd name="T0" fmla="*/ 104 w 105"/>
                <a:gd name="T1" fmla="*/ 104 h 104"/>
                <a:gd name="T2" fmla="*/ 41 w 105"/>
                <a:gd name="T3" fmla="*/ 64 h 104"/>
                <a:gd name="T4" fmla="*/ 0 w 105"/>
                <a:gd name="T5" fmla="*/ 0 h 104"/>
                <a:gd name="T6" fmla="*/ 11 w 105"/>
                <a:gd name="T7" fmla="*/ 0 h 104"/>
                <a:gd name="T8" fmla="*/ 105 w 105"/>
                <a:gd name="T9" fmla="*/ 94 h 104"/>
                <a:gd name="T10" fmla="*/ 104 w 105"/>
                <a:gd name="T11" fmla="*/ 104 h 104"/>
              </a:gdLst>
              <a:ahLst/>
              <a:cxnLst>
                <a:cxn ang="0">
                  <a:pos x="T0" y="T1"/>
                </a:cxn>
                <a:cxn ang="0">
                  <a:pos x="T2" y="T3"/>
                </a:cxn>
                <a:cxn ang="0">
                  <a:pos x="T4" y="T5"/>
                </a:cxn>
                <a:cxn ang="0">
                  <a:pos x="T6" y="T7"/>
                </a:cxn>
                <a:cxn ang="0">
                  <a:pos x="T8" y="T9"/>
                </a:cxn>
                <a:cxn ang="0">
                  <a:pos x="T10" y="T11"/>
                </a:cxn>
              </a:cxnLst>
              <a:rect l="0" t="0" r="r" b="b"/>
              <a:pathLst>
                <a:path w="105" h="104">
                  <a:moveTo>
                    <a:pt x="104" y="104"/>
                  </a:moveTo>
                  <a:cubicBezTo>
                    <a:pt x="81" y="96"/>
                    <a:pt x="59" y="82"/>
                    <a:pt x="41" y="64"/>
                  </a:cubicBezTo>
                  <a:cubicBezTo>
                    <a:pt x="22" y="45"/>
                    <a:pt x="9" y="23"/>
                    <a:pt x="0" y="0"/>
                  </a:cubicBezTo>
                  <a:cubicBezTo>
                    <a:pt x="4" y="0"/>
                    <a:pt x="7" y="0"/>
                    <a:pt x="11" y="0"/>
                  </a:cubicBezTo>
                  <a:cubicBezTo>
                    <a:pt x="105" y="94"/>
                    <a:pt x="105" y="94"/>
                    <a:pt x="105" y="94"/>
                  </a:cubicBezTo>
                  <a:cubicBezTo>
                    <a:pt x="104" y="97"/>
                    <a:pt x="104" y="100"/>
                    <a:pt x="104" y="104"/>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59"/>
              <a:endParaRPr lang="en-US" sz="1729" kern="0" dirty="0">
                <a:solidFill>
                  <a:schemeClr val="accent3">
                    <a:lumMod val="75000"/>
                  </a:schemeClr>
                </a:solidFill>
              </a:endParaRPr>
            </a:p>
          </p:txBody>
        </p:sp>
        <p:sp>
          <p:nvSpPr>
            <p:cNvPr id="31" name="Freeform 13">
              <a:extLst>
                <a:ext uri="{FF2B5EF4-FFF2-40B4-BE49-F238E27FC236}">
                  <a16:creationId xmlns:a16="http://schemas.microsoft.com/office/drawing/2014/main" id="{332DA05A-C5AF-4DCC-B643-FE9551EF31A2}"/>
                </a:ext>
              </a:extLst>
            </p:cNvPr>
            <p:cNvSpPr>
              <a:spLocks noEditPoints="1"/>
            </p:cNvSpPr>
            <p:nvPr/>
          </p:nvSpPr>
          <p:spPr bwMode="auto">
            <a:xfrm>
              <a:off x="4762" y="124"/>
              <a:ext cx="375" cy="374"/>
            </a:xfrm>
            <a:custGeom>
              <a:avLst/>
              <a:gdLst>
                <a:gd name="T0" fmla="*/ 304 w 371"/>
                <a:gd name="T1" fmla="*/ 66 h 370"/>
                <a:gd name="T2" fmla="*/ 62 w 371"/>
                <a:gd name="T3" fmla="*/ 66 h 370"/>
                <a:gd name="T4" fmla="*/ 21 w 371"/>
                <a:gd name="T5" fmla="*/ 245 h 370"/>
                <a:gd name="T6" fmla="*/ 32 w 371"/>
                <a:gd name="T7" fmla="*/ 245 h 370"/>
                <a:gd name="T8" fmla="*/ 126 w 371"/>
                <a:gd name="T9" fmla="*/ 339 h 370"/>
                <a:gd name="T10" fmla="*/ 125 w 371"/>
                <a:gd name="T11" fmla="*/ 349 h 370"/>
                <a:gd name="T12" fmla="*/ 304 w 371"/>
                <a:gd name="T13" fmla="*/ 309 h 370"/>
                <a:gd name="T14" fmla="*/ 304 w 371"/>
                <a:gd name="T15" fmla="*/ 66 h 370"/>
                <a:gd name="T16" fmla="*/ 275 w 371"/>
                <a:gd name="T17" fmla="*/ 161 h 370"/>
                <a:gd name="T18" fmla="*/ 217 w 371"/>
                <a:gd name="T19" fmla="*/ 161 h 370"/>
                <a:gd name="T20" fmla="*/ 217 w 371"/>
                <a:gd name="T21" fmla="*/ 102 h 370"/>
                <a:gd name="T22" fmla="*/ 275 w 371"/>
                <a:gd name="T23" fmla="*/ 102 h 370"/>
                <a:gd name="T24" fmla="*/ 275 w 371"/>
                <a:gd name="T25" fmla="*/ 16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370">
                  <a:moveTo>
                    <a:pt x="304" y="66"/>
                  </a:moveTo>
                  <a:cubicBezTo>
                    <a:pt x="237" y="0"/>
                    <a:pt x="128" y="0"/>
                    <a:pt x="62" y="66"/>
                  </a:cubicBezTo>
                  <a:cubicBezTo>
                    <a:pt x="13" y="115"/>
                    <a:pt x="0" y="185"/>
                    <a:pt x="21" y="245"/>
                  </a:cubicBezTo>
                  <a:cubicBezTo>
                    <a:pt x="25" y="245"/>
                    <a:pt x="28" y="245"/>
                    <a:pt x="32" y="245"/>
                  </a:cubicBezTo>
                  <a:cubicBezTo>
                    <a:pt x="126" y="339"/>
                    <a:pt x="126" y="339"/>
                    <a:pt x="126" y="339"/>
                  </a:cubicBezTo>
                  <a:cubicBezTo>
                    <a:pt x="125" y="342"/>
                    <a:pt x="125" y="345"/>
                    <a:pt x="125" y="349"/>
                  </a:cubicBezTo>
                  <a:cubicBezTo>
                    <a:pt x="185" y="370"/>
                    <a:pt x="255" y="357"/>
                    <a:pt x="304" y="309"/>
                  </a:cubicBezTo>
                  <a:cubicBezTo>
                    <a:pt x="371" y="242"/>
                    <a:pt x="371" y="133"/>
                    <a:pt x="304" y="66"/>
                  </a:cubicBezTo>
                  <a:close/>
                  <a:moveTo>
                    <a:pt x="275" y="161"/>
                  </a:moveTo>
                  <a:cubicBezTo>
                    <a:pt x="259" y="177"/>
                    <a:pt x="233" y="177"/>
                    <a:pt x="217" y="161"/>
                  </a:cubicBezTo>
                  <a:cubicBezTo>
                    <a:pt x="201" y="144"/>
                    <a:pt x="201" y="118"/>
                    <a:pt x="217" y="102"/>
                  </a:cubicBezTo>
                  <a:cubicBezTo>
                    <a:pt x="233" y="86"/>
                    <a:pt x="259" y="86"/>
                    <a:pt x="275" y="102"/>
                  </a:cubicBezTo>
                  <a:cubicBezTo>
                    <a:pt x="291" y="118"/>
                    <a:pt x="291" y="144"/>
                    <a:pt x="275" y="161"/>
                  </a:cubicBez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878559"/>
              <a:endParaRPr lang="en-US" sz="1729" kern="0" dirty="0">
                <a:solidFill>
                  <a:schemeClr val="accent3">
                    <a:lumMod val="75000"/>
                  </a:schemeClr>
                </a:solidFill>
              </a:endParaRPr>
            </a:p>
          </p:txBody>
        </p:sp>
      </p:grpSp>
      <p:sp>
        <p:nvSpPr>
          <p:cNvPr id="32" name="TextBox 31">
            <a:extLst>
              <a:ext uri="{FF2B5EF4-FFF2-40B4-BE49-F238E27FC236}">
                <a16:creationId xmlns:a16="http://schemas.microsoft.com/office/drawing/2014/main" id="{C7D5C653-FF5C-4A59-BB44-5825F6DF25AF}"/>
              </a:ext>
            </a:extLst>
          </p:cNvPr>
          <p:cNvSpPr txBox="1"/>
          <p:nvPr/>
        </p:nvSpPr>
        <p:spPr>
          <a:xfrm>
            <a:off x="6577690" y="5885967"/>
            <a:ext cx="5344246" cy="529135"/>
          </a:xfrm>
          <a:prstGeom prst="rect">
            <a:avLst/>
          </a:prstGeom>
          <a:noFill/>
        </p:spPr>
        <p:txBody>
          <a:bodyPr wrap="square" lIns="179234" tIns="143388" rIns="179234" bIns="143388" rtlCol="0">
            <a:spAutoFit/>
          </a:bodyPr>
          <a:lstStyle/>
          <a:p>
            <a:pPr marL="0" lvl="1" defTabSz="878559">
              <a:lnSpc>
                <a:spcPct val="90000"/>
              </a:lnSpc>
              <a:spcAft>
                <a:spcPts val="588"/>
              </a:spcAft>
            </a:pPr>
            <a:r>
              <a:rPr lang="en-US" sz="1729" i="1" kern="0" dirty="0">
                <a:solidFill>
                  <a:schemeClr val="tx1">
                    <a:lumMod val="50000"/>
                  </a:schemeClr>
                </a:solidFill>
                <a:latin typeface="+mj-lt"/>
              </a:rPr>
              <a:t>Ciphertext</a:t>
            </a:r>
          </a:p>
        </p:txBody>
      </p:sp>
    </p:spTree>
    <p:extLst>
      <p:ext uri="{BB962C8B-B14F-4D97-AF65-F5344CB8AC3E}">
        <p14:creationId xmlns:p14="http://schemas.microsoft.com/office/powerpoint/2010/main" val="4222070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left)">
                                      <p:cBhvr>
                                        <p:cTn id="16" dur="500"/>
                                        <p:tgtEl>
                                          <p:spTgt spid="1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par>
                                <p:cTn id="26" presetID="10" presetClass="entr" presetSubtype="0" fill="hold"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par>
                          <p:cTn id="29" fill="hold">
                            <p:stCondLst>
                              <p:cond delay="500"/>
                            </p:stCondLst>
                            <p:childTnLst>
                              <p:par>
                                <p:cTn id="30" presetID="22" presetClass="entr" presetSubtype="2" fill="hold" nodeType="after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wipe(right)">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right)">
                                      <p:cBhvr>
                                        <p:cTn id="37" dur="500"/>
                                        <p:tgtEl>
                                          <p:spTgt spid="23"/>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500"/>
                                        <p:tgtEl>
                                          <p:spTgt spid="24"/>
                                        </p:tgtEl>
                                      </p:cBhvr>
                                    </p:animEffect>
                                  </p:childTnLst>
                                </p:cTn>
                              </p:par>
                              <p:par>
                                <p:cTn id="42" presetID="10" presetClass="entr" presetSubtype="0" fill="hold" nodeType="with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2" grpId="0"/>
      <p:bldP spid="24" grpId="0"/>
    </p:bldLst>
  </p:timing>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0.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9.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1_Dark Blue">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434351B0-8B7B-4F43-B026-BFEAB1482897}">
  <ds:schemaRefs>
    <ds:schemaRef ds:uri="Strauss.PersonalizationDefinition"/>
  </ds:schemaRefs>
</ds:datastoreItem>
</file>

<file path=customXml/itemProps2.xml><?xml version="1.0" encoding="utf-8"?>
<ds:datastoreItem xmlns:ds="http://schemas.openxmlformats.org/officeDocument/2006/customXml" ds:itemID="{5661E963-C7D3-4B9F-9461-10E39CE650BB}">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5721</Words>
  <Application>Microsoft Office PowerPoint</Application>
  <PresentationFormat>Widescreen</PresentationFormat>
  <Paragraphs>384</Paragraphs>
  <Slides>24</Slides>
  <Notes>21</Notes>
  <HiddenSlides>1</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24</vt:i4>
      </vt:variant>
    </vt:vector>
  </HeadingPairs>
  <TitlesOfParts>
    <vt:vector size="35" baseType="lpstr">
      <vt:lpstr>Arial</vt:lpstr>
      <vt:lpstr>Calibri</vt:lpstr>
      <vt:lpstr>Consolas</vt:lpstr>
      <vt:lpstr>Segoe Light</vt:lpstr>
      <vt:lpstr>Segoe UI</vt:lpstr>
      <vt:lpstr>Segoe UI Light</vt:lpstr>
      <vt:lpstr>Segoe UI Semibold</vt:lpstr>
      <vt:lpstr>Wingdings</vt:lpstr>
      <vt:lpstr>Wingdings 3</vt:lpstr>
      <vt:lpstr>Microsoft 365 PPT Template - 2018</vt:lpstr>
      <vt:lpstr>1_Dark Blue</vt:lpstr>
      <vt:lpstr>Overview of  Always Encrypted </vt:lpstr>
      <vt:lpstr>PowerPoint Presentation</vt:lpstr>
      <vt:lpstr>PowerPoint Presentation</vt:lpstr>
      <vt:lpstr>What is Encryption?</vt:lpstr>
      <vt:lpstr>What are certificates?</vt:lpstr>
      <vt:lpstr>Always Encrypted</vt:lpstr>
      <vt:lpstr>Benefits</vt:lpstr>
      <vt:lpstr>What is Always Encrypted?</vt:lpstr>
      <vt:lpstr>How does Always Encrypted work?</vt:lpstr>
      <vt:lpstr>Column Keys</vt:lpstr>
      <vt:lpstr>Key provisioning</vt:lpstr>
      <vt:lpstr>Encryption Types</vt:lpstr>
      <vt:lpstr>Encryption Methodologies </vt:lpstr>
      <vt:lpstr>Data Encryption Algorithm</vt:lpstr>
      <vt:lpstr>Always Encrypted with Secure Enclaves</vt:lpstr>
      <vt:lpstr>Always Encrypted Catalog Views</vt:lpstr>
      <vt:lpstr>Find Always Encrypted Columns</vt:lpstr>
      <vt:lpstr>Column Encryption Setting = Enabled</vt:lpstr>
      <vt:lpstr>For the developers</vt:lpstr>
      <vt:lpstr>Limitations</vt:lpstr>
      <vt:lpstr>Permissions</vt:lpstr>
      <vt:lpstr>Always Encrypted</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2-03-18T13:1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